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charts/chart16.xml" ContentType="application/vnd.openxmlformats-officedocument.drawingml.chart+xml"/>
  <Override PartName="/ppt/tags/tag44.xml" ContentType="application/vnd.openxmlformats-officedocument.presentationml.tags+xml"/>
  <Override PartName="/ppt/charts/chart17.xml" ContentType="application/vnd.openxmlformats-officedocument.drawingml.chart+xml"/>
  <Override PartName="/ppt/tags/tag45.xml" ContentType="application/vnd.openxmlformats-officedocument.presentationml.tags+xml"/>
  <Override PartName="/ppt/charts/chart18.xml" ContentType="application/vnd.openxmlformats-officedocument.drawingml.chart+xml"/>
  <Override PartName="/ppt/tags/tag46.xml" ContentType="application/vnd.openxmlformats-officedocument.presentationml.tags+xml"/>
  <Override PartName="/ppt/charts/chart19.xml" ContentType="application/vnd.openxmlformats-officedocument.drawingml.chart+xml"/>
  <Override PartName="/ppt/tags/tag47.xml" ContentType="application/vnd.openxmlformats-officedocument.presentationml.tags+xml"/>
  <Override PartName="/ppt/charts/chart20.xml" ContentType="application/vnd.openxmlformats-officedocument.drawingml.chart+xml"/>
  <Override PartName="/ppt/tags/tag48.xml" ContentType="application/vnd.openxmlformats-officedocument.presentationml.tags+xml"/>
  <Override PartName="/ppt/charts/chart21.xml" ContentType="application/vnd.openxmlformats-officedocument.drawingml.chart+xml"/>
  <Override PartName="/ppt/tags/tag49.xml" ContentType="application/vnd.openxmlformats-officedocument.presentationml.tags+xml"/>
  <Override PartName="/ppt/notesSlides/notesSlide1.xml" ContentType="application/vnd.openxmlformats-officedocument.presentationml.notesSlide+xml"/>
  <Override PartName="/ppt/tags/tag50.xml" ContentType="application/vnd.openxmlformats-officedocument.presentationml.tags+xml"/>
  <Override PartName="/ppt/notesSlides/notesSlide2.xml" ContentType="application/vnd.openxmlformats-officedocument.presentationml.notesSlide+xml"/>
  <Override PartName="/ppt/tags/tag51.xml" ContentType="application/vnd.openxmlformats-officedocument.presentationml.tags+xml"/>
  <Override PartName="/ppt/notesSlides/notesSlide3.xml" ContentType="application/vnd.openxmlformats-officedocument.presentationml.notesSlide+xml"/>
  <Override PartName="/ppt/tags/tag52.xml" ContentType="application/vnd.openxmlformats-officedocument.presentationml.tags+xml"/>
  <Override PartName="/ppt/notesSlides/notesSlide4.xml" ContentType="application/vnd.openxmlformats-officedocument.presentationml.notesSlide+xml"/>
  <Override PartName="/ppt/tags/tag53.xml" ContentType="application/vnd.openxmlformats-officedocument.presentationml.tags+xml"/>
  <Override PartName="/ppt/notesSlides/notesSlide5.xml" ContentType="application/vnd.openxmlformats-officedocument.presentationml.notesSlide+xml"/>
  <Override PartName="/ppt/tags/tag54.xml" ContentType="application/vnd.openxmlformats-officedocument.presentationml.tags+xml"/>
  <Override PartName="/ppt/notesSlides/notesSlide6.xml" ContentType="application/vnd.openxmlformats-officedocument.presentationml.notesSlide+xml"/>
  <Override PartName="/ppt/tags/tag55.xml" ContentType="application/vnd.openxmlformats-officedocument.presentationml.tags+xml"/>
  <Override PartName="/ppt/charts/chart22.xml" ContentType="application/vnd.openxmlformats-officedocument.drawingml.chart+xml"/>
  <Override PartName="/ppt/tags/tag56.xml" ContentType="application/vnd.openxmlformats-officedocument.presentationml.tags+xml"/>
  <Override PartName="/ppt/charts/chart23.xml" ContentType="application/vnd.openxmlformats-officedocument.drawingml.chart+xml"/>
  <Override PartName="/ppt/tags/tag57.xml" ContentType="application/vnd.openxmlformats-officedocument.presentationml.tags+xml"/>
  <Override PartName="/ppt/charts/chart24.xml" ContentType="application/vnd.openxmlformats-officedocument.drawingml.chart+xml"/>
  <Override PartName="/ppt/tags/tag58.xml" ContentType="application/vnd.openxmlformats-officedocument.presentationml.tags+xml"/>
  <Override PartName="/ppt/charts/chart25.xml" ContentType="application/vnd.openxmlformats-officedocument.drawingml.chart+xml"/>
  <Override PartName="/ppt/tags/tag59.xml" ContentType="application/vnd.openxmlformats-officedocument.presentationml.tags+xml"/>
  <Override PartName="/ppt/charts/chart26.xml" ContentType="application/vnd.openxmlformats-officedocument.drawingml.chart+xml"/>
  <Override PartName="/ppt/tags/tag60.xml" ContentType="application/vnd.openxmlformats-officedocument.presentationml.tags+xml"/>
  <Override PartName="/ppt/charts/chart27.xml" ContentType="application/vnd.openxmlformats-officedocument.drawingml.chart+xml"/>
  <Override PartName="/ppt/tags/tag61.xml" ContentType="application/vnd.openxmlformats-officedocument.presentationml.tags+xml"/>
  <Override PartName="/ppt/charts/chart28.xml" ContentType="application/vnd.openxmlformats-officedocument.drawingml.chart+xml"/>
  <Override PartName="/ppt/tags/tag62.xml" ContentType="application/vnd.openxmlformats-officedocument.presentationml.tags+xml"/>
  <Override PartName="/ppt/charts/chart29.xml" ContentType="application/vnd.openxmlformats-officedocument.drawingml.chart+xml"/>
  <Override PartName="/ppt/tags/tag63.xml" ContentType="application/vnd.openxmlformats-officedocument.presentationml.tags+xml"/>
  <Override PartName="/ppt/charts/chart30.xml" ContentType="application/vnd.openxmlformats-officedocument.drawingml.chart+xml"/>
  <Override PartName="/ppt/tags/tag64.xml" ContentType="application/vnd.openxmlformats-officedocument.presentationml.tags+xml"/>
  <Override PartName="/ppt/charts/chart31.xml" ContentType="application/vnd.openxmlformats-officedocument.drawingml.chart+xml"/>
  <Override PartName="/ppt/tags/tag65.xml" ContentType="application/vnd.openxmlformats-officedocument.presentationml.tags+xml"/>
  <Override PartName="/ppt/charts/chart32.xml" ContentType="application/vnd.openxmlformats-officedocument.drawingml.chart+xml"/>
  <Override PartName="/ppt/tags/tag66.xml" ContentType="application/vnd.openxmlformats-officedocument.presentationml.tags+xml"/>
  <Override PartName="/ppt/charts/chart33.xml" ContentType="application/vnd.openxmlformats-officedocument.drawingml.chart+xml"/>
  <Override PartName="/ppt/tags/tag67.xml" ContentType="application/vnd.openxmlformats-officedocument.presentationml.tags+xml"/>
  <Override PartName="/ppt/charts/chart34.xml" ContentType="application/vnd.openxmlformats-officedocument.drawingml.chart+xml"/>
  <Override PartName="/ppt/tags/tag68.xml" ContentType="application/vnd.openxmlformats-officedocument.presentationml.tags+xml"/>
  <Override PartName="/ppt/charts/chart35.xml" ContentType="application/vnd.openxmlformats-officedocument.drawingml.chart+xml"/>
  <Override PartName="/ppt/tags/tag69.xml" ContentType="application/vnd.openxmlformats-officedocument.presentationml.tags+xml"/>
  <Override PartName="/ppt/charts/chart36.xml" ContentType="application/vnd.openxmlformats-officedocument.drawingml.chart+xml"/>
  <Override PartName="/ppt/tags/tag70.xml" ContentType="application/vnd.openxmlformats-officedocument.presentationml.tags+xml"/>
  <Override PartName="/ppt/charts/chart37.xml" ContentType="application/vnd.openxmlformats-officedocument.drawingml.chart+xml"/>
  <Override PartName="/ppt/tags/tag71.xml" ContentType="application/vnd.openxmlformats-officedocument.presentationml.tags+xml"/>
  <Override PartName="/ppt/charts/chart38.xml" ContentType="application/vnd.openxmlformats-officedocument.drawingml.chart+xml"/>
  <Override PartName="/ppt/tags/tag72.xml" ContentType="application/vnd.openxmlformats-officedocument.presentationml.tags+xml"/>
  <Override PartName="/ppt/charts/chart39.xml" ContentType="application/vnd.openxmlformats-officedocument.drawingml.chart+xml"/>
  <Override PartName="/ppt/tags/tag73.xml" ContentType="application/vnd.openxmlformats-officedocument.presentationml.tags+xml"/>
  <Override PartName="/ppt/charts/chart40.xml" ContentType="application/vnd.openxmlformats-officedocument.drawingml.chart+xml"/>
  <Override PartName="/ppt/tags/tag74.xml" ContentType="application/vnd.openxmlformats-officedocument.presentationml.tags+xml"/>
  <Override PartName="/ppt/charts/chart41.xml" ContentType="application/vnd.openxmlformats-officedocument.drawingml.chart+xml"/>
  <Override PartName="/ppt/tags/tag75.xml" ContentType="application/vnd.openxmlformats-officedocument.presentationml.tags+xml"/>
  <Override PartName="/ppt/charts/chart42.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53"/>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Analysis" id="{619F7161-769E-4248-BAEA-A47E7D2E862C}">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 id="2147477384"/>
            <p14:sldId id="2147477385"/>
          </p14:sldIdLst>
        </p14:section>
        <p14:section name="Sectors Share and Growth By Brands" id="{CD92841B-DA50-4899-9E99-936A0DE6A6FA}">
          <p14:sldIdLst>
            <p14:sldId id="2147477386"/>
            <p14:sldId id="2147477387"/>
            <p14:sldId id="2147477388"/>
          </p14:sldIdLst>
        </p14:section>
        <p14:section name="Segments Share and Growth By Brands" id="{045AE265-7B29-41B5-A2D9-E0FA89FCF2D7}">
          <p14:sldIdLst>
            <p14:sldId id="2147477389"/>
            <p14:sldId id="2147477390"/>
            <p14:sldId id="2147477391"/>
          </p14:sldIdLst>
        </p14:section>
        <p14:section name="Price Point Distribution Analysis By Brand" id="{405E1FEE-5D2C-4C66-B908-6BAF84FA4E83}">
          <p14:sldIdLst>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72" y="270"/>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notesMaster" Target="notesMasters/notesMaster1.xml"/><Relationship Id="rId58" Type="http://schemas.microsoft.com/office/2015/10/relationships/revisionInfo" Target="revisionInfo.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bleStyles" Target="tableStyle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AD43788-D7FF-4FD6-8A8E-3DB935D58A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D7C9F64-E624-4F01-811C-972A3DCD9D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F3499B6-8327-47AA-8A99-2555AEA3A0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D56AFF9-2C0A-4B83-B2F8-E8AAE9EDD9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03CFC7E-1FA3-4090-A0A0-EA050D6A1F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83DF33F-F1D0-4324-9C0D-AE3BD2F7AD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7960938-3176-4C27-9CA0-44DE8A4FA1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2DA8700-795F-441B-AF5F-3A61B56859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2707999999999999</c:v>
                </c:pt>
                <c:pt idx="1">
                  <c:v>2.5295000000000001</c:v>
                </c:pt>
                <c:pt idx="2">
                  <c:v>2.7004000000000001</c:v>
                </c:pt>
                <c:pt idx="3">
                  <c:v>2.8982999999999999</c:v>
                </c:pt>
                <c:pt idx="4">
                  <c:v>3.3340999999999998</c:v>
                </c:pt>
                <c:pt idx="5">
                  <c:v>3.2122000000000002</c:v>
                </c:pt>
                <c:pt idx="6">
                  <c:v>2.3018000000000001</c:v>
                </c:pt>
                <c:pt idx="7">
                  <c:v>3.1894</c:v>
                </c:pt>
                <c:pt idx="8">
                  <c:v>2.4699</c:v>
                </c:pt>
              </c:numCache>
            </c:numRef>
          </c:xVal>
          <c:yVal>
            <c:numRef>
              <c:f>Sheet1!$B$2:$B$10</c:f>
              <c:numCache>
                <c:formatCode>General</c:formatCode>
                <c:ptCount val="9"/>
                <c:pt idx="0">
                  <c:v>0.86599999999999999</c:v>
                </c:pt>
                <c:pt idx="1">
                  <c:v>0.88500000000000001</c:v>
                </c:pt>
                <c:pt idx="2">
                  <c:v>1.0760000000000001</c:v>
                </c:pt>
                <c:pt idx="3">
                  <c:v>1.1339999999999999</c:v>
                </c:pt>
                <c:pt idx="4">
                  <c:v>1.2909999999999999</c:v>
                </c:pt>
                <c:pt idx="5">
                  <c:v>1.151</c:v>
                </c:pt>
                <c:pt idx="6">
                  <c:v>1.121</c:v>
                </c:pt>
                <c:pt idx="7">
                  <c:v>0.89</c:v>
                </c:pt>
                <c:pt idx="8">
                  <c:v>0.71</c:v>
                </c:pt>
              </c:numCache>
            </c:numRef>
          </c:yVal>
          <c:bubbleSize>
            <c:numRef>
              <c:f>Sheet1!$C$2:$C$10</c:f>
              <c:numCache>
                <c:formatCode>General</c:formatCode>
                <c:ptCount val="9"/>
                <c:pt idx="0">
                  <c:v>3555101229</c:v>
                </c:pt>
                <c:pt idx="1">
                  <c:v>441401234</c:v>
                </c:pt>
                <c:pt idx="2">
                  <c:v>212784778</c:v>
                </c:pt>
                <c:pt idx="3">
                  <c:v>198815524</c:v>
                </c:pt>
                <c:pt idx="4">
                  <c:v>194491569</c:v>
                </c:pt>
                <c:pt idx="5">
                  <c:v>187705593</c:v>
                </c:pt>
                <c:pt idx="6">
                  <c:v>159815144</c:v>
                </c:pt>
                <c:pt idx="7">
                  <c:v>149020607</c:v>
                </c:pt>
                <c:pt idx="8">
                  <c:v>146914315</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St Moret</c:v>
                  </c:pt>
                  <c:pt idx="4">
                    <c:v>Entremont</c:v>
                  </c:pt>
                  <c:pt idx="5">
                    <c:v>Caprice Des Dieux</c:v>
                  </c:pt>
                  <c:pt idx="6">
                    <c:v>Galbani</c:v>
                  </c:pt>
                  <c:pt idx="7">
                    <c:v>La Vache Qui Rit</c:v>
                  </c:pt>
                  <c:pt idx="8">
                    <c:v>Coeur De L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9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7D40517-DFC6-4A57-94B5-DD813209D6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9A117B5-5418-4A0B-8777-44A19659F8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889D380-1B4B-4502-877B-69A6586EC2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A1A1194-2C2F-4EBC-92D0-04E655B1C5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8203D97-6022-4FD4-AA63-9ADBA68DAF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62757A8-22C8-433B-A0A4-565435A98F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279C51A-B3FA-466B-9ACF-4A542E0582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2C6C211-8ADF-496E-8058-82BB1CBD48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5449999999999999</c:v>
                </c:pt>
                <c:pt idx="1">
                  <c:v>2.0207000000000002</c:v>
                </c:pt>
                <c:pt idx="2">
                  <c:v>3.448</c:v>
                </c:pt>
                <c:pt idx="3">
                  <c:v>1.873</c:v>
                </c:pt>
                <c:pt idx="4">
                  <c:v>3.58</c:v>
                </c:pt>
                <c:pt idx="5">
                  <c:v>2.5432000000000001</c:v>
                </c:pt>
              </c:numCache>
            </c:numRef>
          </c:xVal>
          <c:yVal>
            <c:numRef>
              <c:f>Sheet1!$B$2:$B$7</c:f>
              <c:numCache>
                <c:formatCode>General</c:formatCode>
                <c:ptCount val="6"/>
                <c:pt idx="0">
                  <c:v>0.85899999999999999</c:v>
                </c:pt>
                <c:pt idx="1">
                  <c:v>1.1160000000000001</c:v>
                </c:pt>
                <c:pt idx="2">
                  <c:v>1.5269999999999999</c:v>
                </c:pt>
                <c:pt idx="3">
                  <c:v>1.145</c:v>
                </c:pt>
                <c:pt idx="4">
                  <c:v>1.4239999999999999</c:v>
                </c:pt>
                <c:pt idx="5">
                  <c:v>1.373</c:v>
                </c:pt>
              </c:numCache>
            </c:numRef>
          </c:yVal>
          <c:bubbleSize>
            <c:numRef>
              <c:f>Sheet1!$C$2:$C$7</c:f>
              <c:numCache>
                <c:formatCode>General</c:formatCode>
                <c:ptCount val="6"/>
                <c:pt idx="0">
                  <c:v>77248377</c:v>
                </c:pt>
                <c:pt idx="1">
                  <c:v>34203912</c:v>
                </c:pt>
                <c:pt idx="2">
                  <c:v>8572561</c:v>
                </c:pt>
                <c:pt idx="3">
                  <c:v>5901619</c:v>
                </c:pt>
                <c:pt idx="4">
                  <c:v>2984383</c:v>
                </c:pt>
                <c:pt idx="5">
                  <c:v>2592713</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La Belle Etoile</c:v>
                  </c:pt>
                  <c:pt idx="3">
                    <c:v>La Vache Qui Rit</c:v>
                  </c:pt>
                  <c:pt idx="4">
                    <c:v>Raguin</c:v>
                  </c:pt>
                  <c:pt idx="5">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2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73A2305-D941-4D76-8E74-F45742E7D5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BEB5EE7-F1B7-462B-93A0-7C602DE18F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59430A2-D440-4200-8A67-5A8FF1134B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11C5EAD-639A-4DBA-9FD9-E37C350860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F7F6038-2A8D-498D-9500-9D4C230A35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8D52228-7A74-4E51-8550-2D6F1521C7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2069118-DD3C-4816-854C-EFD1B41D0D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D31ED64-0FC4-4B58-B976-0F5CA347A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6009</c:v>
                </c:pt>
                <c:pt idx="1">
                  <c:v>2.0162</c:v>
                </c:pt>
                <c:pt idx="2">
                  <c:v>1.7841</c:v>
                </c:pt>
                <c:pt idx="3">
                  <c:v>3.4218000000000002</c:v>
                </c:pt>
                <c:pt idx="4">
                  <c:v>2.6625999999999999</c:v>
                </c:pt>
                <c:pt idx="5">
                  <c:v>4.0000999999999998</c:v>
                </c:pt>
              </c:numCache>
            </c:numRef>
          </c:xVal>
          <c:yVal>
            <c:numRef>
              <c:f>Sheet1!$B$2:$B$7</c:f>
              <c:numCache>
                <c:formatCode>General</c:formatCode>
                <c:ptCount val="6"/>
                <c:pt idx="0">
                  <c:v>0.84699999999999998</c:v>
                </c:pt>
                <c:pt idx="1">
                  <c:v>1.137</c:v>
                </c:pt>
                <c:pt idx="2">
                  <c:v>1.093</c:v>
                </c:pt>
                <c:pt idx="3">
                  <c:v>1.5529999999999999</c:v>
                </c:pt>
                <c:pt idx="4">
                  <c:v>1.379</c:v>
                </c:pt>
                <c:pt idx="5">
                  <c:v>1.5629999999999999</c:v>
                </c:pt>
              </c:numCache>
            </c:numRef>
          </c:yVal>
          <c:bubbleSize>
            <c:numRef>
              <c:f>Sheet1!$C$2:$C$7</c:f>
              <c:numCache>
                <c:formatCode>General</c:formatCode>
                <c:ptCount val="6"/>
                <c:pt idx="0">
                  <c:v>8889711</c:v>
                </c:pt>
                <c:pt idx="1">
                  <c:v>4466526</c:v>
                </c:pt>
                <c:pt idx="2">
                  <c:v>1665377</c:v>
                </c:pt>
                <c:pt idx="3">
                  <c:v>826174</c:v>
                </c:pt>
                <c:pt idx="4">
                  <c:v>381075</c:v>
                </c:pt>
                <c:pt idx="5">
                  <c:v>195170</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La Vache Qui Rit</c:v>
                  </c:pt>
                  <c:pt idx="3">
                    <c:v>La Belle Etoile</c:v>
                  </c:pt>
                  <c:pt idx="4">
                    <c:v>Boursin</c:v>
                  </c:pt>
                  <c:pt idx="5">
                    <c:v>Ragu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6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865F37-C107-4E7E-A9BF-9679F36FBA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2E50DDA-3C50-4F1F-BCD1-008500556C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3FA462D-9198-406C-8811-A7BBB4D660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11CDD87-45EF-4172-883D-A0F8FB9A23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C40CE3E-98AA-457B-BD1F-5D334D361C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EC29D2A-4576-45CA-B030-E169D90E6A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2E9F44A-64A6-4EDF-9DB2-C8C4A59385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42A84F5-C436-4D1B-9498-EEB3621EC2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6062000000000001</c:v>
                </c:pt>
                <c:pt idx="1">
                  <c:v>2.0152000000000001</c:v>
                </c:pt>
                <c:pt idx="2">
                  <c:v>3.7374999999999998</c:v>
                </c:pt>
                <c:pt idx="3">
                  <c:v>3.7753000000000001</c:v>
                </c:pt>
                <c:pt idx="4">
                  <c:v>2.641</c:v>
                </c:pt>
              </c:numCache>
            </c:numRef>
          </c:xVal>
          <c:yVal>
            <c:numRef>
              <c:f>Sheet1!$B$2:$B$6</c:f>
              <c:numCache>
                <c:formatCode>General</c:formatCode>
                <c:ptCount val="5"/>
                <c:pt idx="0">
                  <c:v>0.84199999999999997</c:v>
                </c:pt>
                <c:pt idx="1">
                  <c:v>1.073</c:v>
                </c:pt>
                <c:pt idx="2">
                  <c:v>1.5489999999999999</c:v>
                </c:pt>
                <c:pt idx="3">
                  <c:v>1.458</c:v>
                </c:pt>
                <c:pt idx="4">
                  <c:v>1.4239999999999999</c:v>
                </c:pt>
              </c:numCache>
            </c:numRef>
          </c:yVal>
          <c:bubbleSize>
            <c:numRef>
              <c:f>Sheet1!$C$2:$C$6</c:f>
              <c:numCache>
                <c:formatCode>General</c:formatCode>
                <c:ptCount val="5"/>
                <c:pt idx="0">
                  <c:v>16108620</c:v>
                </c:pt>
                <c:pt idx="1">
                  <c:v>12774315</c:v>
                </c:pt>
                <c:pt idx="2">
                  <c:v>2517046</c:v>
                </c:pt>
                <c:pt idx="3">
                  <c:v>1100140</c:v>
                </c:pt>
                <c:pt idx="4">
                  <c:v>708899</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La Belle Etoile</c:v>
                  </c:pt>
                  <c:pt idx="3">
                    <c:v>Raguin</c:v>
                  </c:pt>
                  <c:pt idx="4">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4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C93FFAE-5EEF-48AF-AD34-D9782A711E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D2EB7C6-02ED-405C-B3DE-589FE47C2A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8946F61-FEAB-40A1-8C47-3E3A43AF30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E90FF79-4DBD-44BB-96C4-C295B3674A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38805E5-2085-44B2-A3E8-DC96E98EAF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5626240-73D6-40BB-99BA-01FC5C3666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DD69FC2-54FC-4D66-8136-6889CA4AF1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BCA7C08-9566-4F4D-8117-5103B56E4B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2845</c:v>
                </c:pt>
                <c:pt idx="1">
                  <c:v>3.4908000000000001</c:v>
                </c:pt>
                <c:pt idx="2">
                  <c:v>3.0055999999999998</c:v>
                </c:pt>
                <c:pt idx="3">
                  <c:v>2.2181000000000002</c:v>
                </c:pt>
                <c:pt idx="4">
                  <c:v>2.7117</c:v>
                </c:pt>
                <c:pt idx="5">
                  <c:v>3.2094999999999998</c:v>
                </c:pt>
              </c:numCache>
            </c:numRef>
          </c:xVal>
          <c:yVal>
            <c:numRef>
              <c:f>Sheet1!$B$2:$B$7</c:f>
              <c:numCache>
                <c:formatCode>General</c:formatCode>
                <c:ptCount val="6"/>
                <c:pt idx="0">
                  <c:v>0.88900000000000001</c:v>
                </c:pt>
                <c:pt idx="1">
                  <c:v>1.431</c:v>
                </c:pt>
                <c:pt idx="2">
                  <c:v>1.1040000000000001</c:v>
                </c:pt>
                <c:pt idx="3">
                  <c:v>0.64400000000000002</c:v>
                </c:pt>
                <c:pt idx="4">
                  <c:v>1.952</c:v>
                </c:pt>
                <c:pt idx="5">
                  <c:v>1.4830000000000001</c:v>
                </c:pt>
              </c:numCache>
            </c:numRef>
          </c:yVal>
          <c:bubbleSize>
            <c:numRef>
              <c:f>Sheet1!$C$2:$C$7</c:f>
              <c:numCache>
                <c:formatCode>General</c:formatCode>
                <c:ptCount val="6"/>
                <c:pt idx="0">
                  <c:v>143118908</c:v>
                </c:pt>
                <c:pt idx="1">
                  <c:v>133719924</c:v>
                </c:pt>
                <c:pt idx="2">
                  <c:v>109186832</c:v>
                </c:pt>
                <c:pt idx="3">
                  <c:v>100313963</c:v>
                </c:pt>
                <c:pt idx="4">
                  <c:v>40963436</c:v>
                </c:pt>
                <c:pt idx="5">
                  <c:v>11176159</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52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BA83E72-5EA3-416A-9B26-370C4279B4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2AE1B1F-C3EC-42FD-B49C-E24890211F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BFFFA1C-3E50-43A3-B07D-1702D4D197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0B12F01-0AC7-4366-B52A-0C5ED368BB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7875851-69C1-4D1E-9734-06AF1B5DCB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BBAA4F3-7444-4809-8B0A-49747D9E4A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86EE2DC-42F3-4E19-A35E-069A6D1AEC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91BA97C-D2AE-4E08-8EBF-55AB8AD76F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2692000000000001</c:v>
                </c:pt>
                <c:pt idx="1">
                  <c:v>3.4565000000000001</c:v>
                </c:pt>
                <c:pt idx="2">
                  <c:v>2.9908000000000001</c:v>
                </c:pt>
                <c:pt idx="3">
                  <c:v>2.3189000000000002</c:v>
                </c:pt>
                <c:pt idx="4">
                  <c:v>2.8247</c:v>
                </c:pt>
                <c:pt idx="5">
                  <c:v>3.0139</c:v>
                </c:pt>
              </c:numCache>
            </c:numRef>
          </c:xVal>
          <c:yVal>
            <c:numRef>
              <c:f>Sheet1!$B$2:$B$7</c:f>
              <c:numCache>
                <c:formatCode>General</c:formatCode>
                <c:ptCount val="6"/>
                <c:pt idx="0">
                  <c:v>0.81499999999999995</c:v>
                </c:pt>
                <c:pt idx="1">
                  <c:v>1.363</c:v>
                </c:pt>
                <c:pt idx="2">
                  <c:v>1.036</c:v>
                </c:pt>
                <c:pt idx="3">
                  <c:v>0.69099999999999995</c:v>
                </c:pt>
                <c:pt idx="4">
                  <c:v>2.008</c:v>
                </c:pt>
                <c:pt idx="5">
                  <c:v>1.6180000000000001</c:v>
                </c:pt>
              </c:numCache>
            </c:numRef>
          </c:yVal>
          <c:bubbleSize>
            <c:numRef>
              <c:f>Sheet1!$C$2:$C$7</c:f>
              <c:numCache>
                <c:formatCode>General</c:formatCode>
                <c:ptCount val="6"/>
                <c:pt idx="0">
                  <c:v>30468308</c:v>
                </c:pt>
                <c:pt idx="1">
                  <c:v>22613796</c:v>
                </c:pt>
                <c:pt idx="2">
                  <c:v>21233281</c:v>
                </c:pt>
                <c:pt idx="3">
                  <c:v>10731593</c:v>
                </c:pt>
                <c:pt idx="4">
                  <c:v>8292955</c:v>
                </c:pt>
                <c:pt idx="5">
                  <c:v>2020643</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08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CF6C142-89C1-4289-B880-81B10A601B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ECE66DC-BDAE-4D6B-8E91-CE17D1B722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A578A59-C837-402F-8CC8-A1A8CCAECC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FB22011-A530-451F-A7ED-36B9B61791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083C9CF-E9F3-4F1E-A7D8-3F9375D9B0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0C03030-715D-48B8-B494-A2BE97D445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EB1B9AE-CDC8-4805-BCC0-3E630A98AA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3188641-56B1-46D6-A5F0-367B0B92DB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3645999999999998</c:v>
                </c:pt>
                <c:pt idx="1">
                  <c:v>3.5409000000000002</c:v>
                </c:pt>
                <c:pt idx="2">
                  <c:v>3.1012</c:v>
                </c:pt>
                <c:pt idx="3">
                  <c:v>2.0585</c:v>
                </c:pt>
                <c:pt idx="4">
                  <c:v>2.7042000000000002</c:v>
                </c:pt>
                <c:pt idx="5">
                  <c:v>3.6595</c:v>
                </c:pt>
              </c:numCache>
            </c:numRef>
          </c:xVal>
          <c:yVal>
            <c:numRef>
              <c:f>Sheet1!$B$2:$B$7</c:f>
              <c:numCache>
                <c:formatCode>General</c:formatCode>
                <c:ptCount val="6"/>
                <c:pt idx="0">
                  <c:v>0.86699999999999999</c:v>
                </c:pt>
                <c:pt idx="1">
                  <c:v>1.371</c:v>
                </c:pt>
                <c:pt idx="2">
                  <c:v>1.073</c:v>
                </c:pt>
                <c:pt idx="3">
                  <c:v>0.64100000000000001</c:v>
                </c:pt>
                <c:pt idx="4">
                  <c:v>1.871</c:v>
                </c:pt>
                <c:pt idx="5">
                  <c:v>1.278</c:v>
                </c:pt>
              </c:numCache>
            </c:numRef>
          </c:yVal>
          <c:bubbleSize>
            <c:numRef>
              <c:f>Sheet1!$C$2:$C$7</c:f>
              <c:numCache>
                <c:formatCode>General</c:formatCode>
                <c:ptCount val="6"/>
                <c:pt idx="0">
                  <c:v>22557022</c:v>
                </c:pt>
                <c:pt idx="1">
                  <c:v>19313906</c:v>
                </c:pt>
                <c:pt idx="2">
                  <c:v>16396938</c:v>
                </c:pt>
                <c:pt idx="3">
                  <c:v>10594194</c:v>
                </c:pt>
                <c:pt idx="4">
                  <c:v>5799659</c:v>
                </c:pt>
                <c:pt idx="5">
                  <c:v>1522946</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71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518C996-48CA-4C87-B1C2-FE094D9DAE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24FFC9A-4D03-411B-8645-ECD7DF38B5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E9FB198-31F0-4965-B1FC-6DC4DC3864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C42E77B-80A7-4E01-830F-0FD9EFE72D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5294A94-F6D8-4A73-9EB7-0A7A316958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12288DD-A486-4EC9-9930-127C5ED98B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D79E321-6404-40DE-A3F7-6C1E1907D9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7D77B51-48CD-47A8-AD5B-BD9FF05356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156</c:v>
                </c:pt>
                <c:pt idx="1">
                  <c:v>1.5004999999999999</c:v>
                </c:pt>
                <c:pt idx="2">
                  <c:v>2.4567999999999999</c:v>
                </c:pt>
                <c:pt idx="3">
                  <c:v>2.2768000000000002</c:v>
                </c:pt>
                <c:pt idx="4">
                  <c:v>2.3458000000000001</c:v>
                </c:pt>
                <c:pt idx="5">
                  <c:v>2.4558</c:v>
                </c:pt>
                <c:pt idx="6">
                  <c:v>2.6151</c:v>
                </c:pt>
                <c:pt idx="7">
                  <c:v>1.7732000000000001</c:v>
                </c:pt>
              </c:numCache>
            </c:numRef>
          </c:xVal>
          <c:yVal>
            <c:numRef>
              <c:f>Sheet1!$B$2:$B$9</c:f>
              <c:numCache>
                <c:formatCode>General</c:formatCode>
                <c:ptCount val="8"/>
                <c:pt idx="0">
                  <c:v>1.1499999999999999</c:v>
                </c:pt>
                <c:pt idx="1">
                  <c:v>0.68899999999999995</c:v>
                </c:pt>
                <c:pt idx="2">
                  <c:v>1.0349999999999999</c:v>
                </c:pt>
                <c:pt idx="3">
                  <c:v>1.1140000000000001</c:v>
                </c:pt>
                <c:pt idx="4">
                  <c:v>1.3320000000000001</c:v>
                </c:pt>
                <c:pt idx="5">
                  <c:v>1.099</c:v>
                </c:pt>
                <c:pt idx="6">
                  <c:v>1.0780000000000001</c:v>
                </c:pt>
                <c:pt idx="7">
                  <c:v>1.222</c:v>
                </c:pt>
              </c:numCache>
            </c:numRef>
          </c:yVal>
          <c:bubbleSize>
            <c:numRef>
              <c:f>Sheet1!$C$2:$C$9</c:f>
              <c:numCache>
                <c:formatCode>General</c:formatCode>
                <c:ptCount val="8"/>
                <c:pt idx="0">
                  <c:v>188621011</c:v>
                </c:pt>
                <c:pt idx="1">
                  <c:v>139659774</c:v>
                </c:pt>
                <c:pt idx="2">
                  <c:v>89110867</c:v>
                </c:pt>
                <c:pt idx="3">
                  <c:v>74612015</c:v>
                </c:pt>
                <c:pt idx="4">
                  <c:v>69893459</c:v>
                </c:pt>
                <c:pt idx="5">
                  <c:v>40894571</c:v>
                </c:pt>
                <c:pt idx="6">
                  <c:v>30462743</c:v>
                </c:pt>
                <c:pt idx="7">
                  <c:v>10202099</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Paysan Breton</c:v>
                  </c:pt>
                  <c:pt idx="3">
                    <c:v>Tartare</c:v>
                  </c:pt>
                  <c:pt idx="4">
                    <c:v>Boursin</c:v>
                  </c:pt>
                  <c:pt idx="5">
                    <c:v>Carre Frais</c:v>
                  </c:pt>
                  <c:pt idx="6">
                    <c:v>Philadelphia</c:v>
                  </c:pt>
                  <c:pt idx="7">
                    <c:v>Rondel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5859ACC-D646-4728-9EAF-D07B307D48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CA45EA2-A80B-4768-BF46-BEB5F66128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1AF15EF-12F1-4D41-918D-5AEFD12AA0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F946919-DD3A-470C-9819-1A3EA6AB71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4201DA6-C4A6-49E9-8236-C084F99394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23A1F1A-875D-47A4-B4AF-0F5F25D719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58FB8D0-ECDE-42AF-8712-CA3707D2E4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FD6E331-F51D-4524-944E-02C2A69315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3.0144000000000002</c:v>
                </c:pt>
                <c:pt idx="1">
                  <c:v>1.6611</c:v>
                </c:pt>
                <c:pt idx="2">
                  <c:v>2.5226999999999999</c:v>
                </c:pt>
                <c:pt idx="3">
                  <c:v>2.3923999999999999</c:v>
                </c:pt>
                <c:pt idx="4">
                  <c:v>2.4001999999999999</c:v>
                </c:pt>
                <c:pt idx="5">
                  <c:v>2.4596</c:v>
                </c:pt>
                <c:pt idx="6">
                  <c:v>2.7534999999999998</c:v>
                </c:pt>
                <c:pt idx="7">
                  <c:v>2.6608000000000001</c:v>
                </c:pt>
                <c:pt idx="8">
                  <c:v>1.7701</c:v>
                </c:pt>
              </c:numCache>
            </c:numRef>
          </c:xVal>
          <c:yVal>
            <c:numRef>
              <c:f>Sheet1!$B$2:$B$10</c:f>
              <c:numCache>
                <c:formatCode>General</c:formatCode>
                <c:ptCount val="9"/>
                <c:pt idx="0">
                  <c:v>1.131</c:v>
                </c:pt>
                <c:pt idx="1">
                  <c:v>0.69099999999999995</c:v>
                </c:pt>
                <c:pt idx="2">
                  <c:v>0.98699999999999999</c:v>
                </c:pt>
                <c:pt idx="3">
                  <c:v>1.0880000000000001</c:v>
                </c:pt>
                <c:pt idx="4">
                  <c:v>1.2669999999999999</c:v>
                </c:pt>
                <c:pt idx="5">
                  <c:v>1.0169999999999999</c:v>
                </c:pt>
                <c:pt idx="6">
                  <c:v>1.0469999999999999</c:v>
                </c:pt>
                <c:pt idx="7">
                  <c:v>1.4339999999999999</c:v>
                </c:pt>
                <c:pt idx="8">
                  <c:v>1.175</c:v>
                </c:pt>
              </c:numCache>
            </c:numRef>
          </c:yVal>
          <c:bubbleSize>
            <c:numRef>
              <c:f>Sheet1!$C$2:$C$10</c:f>
              <c:numCache>
                <c:formatCode>General</c:formatCode>
                <c:ptCount val="9"/>
                <c:pt idx="0">
                  <c:v>30956719</c:v>
                </c:pt>
                <c:pt idx="1">
                  <c:v>16850297</c:v>
                </c:pt>
                <c:pt idx="2">
                  <c:v>16088426</c:v>
                </c:pt>
                <c:pt idx="3">
                  <c:v>12545434</c:v>
                </c:pt>
                <c:pt idx="4">
                  <c:v>12208672</c:v>
                </c:pt>
                <c:pt idx="5">
                  <c:v>8124232</c:v>
                </c:pt>
                <c:pt idx="6">
                  <c:v>8119796</c:v>
                </c:pt>
                <c:pt idx="7">
                  <c:v>1583106</c:v>
                </c:pt>
                <c:pt idx="8">
                  <c:v>1509711</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Paysan Breton</c:v>
                  </c:pt>
                  <c:pt idx="3">
                    <c:v>Tartare</c:v>
                  </c:pt>
                  <c:pt idx="4">
                    <c:v>Boursin</c:v>
                  </c:pt>
                  <c:pt idx="5">
                    <c:v>Carre Frais</c:v>
                  </c:pt>
                  <c:pt idx="6">
                    <c:v>Philadelphia</c:v>
                  </c:pt>
                  <c:pt idx="7">
                    <c:v>Kiri</c:v>
                  </c:pt>
                  <c:pt idx="8">
                    <c:v>Rondel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3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834B2F4-4762-494C-87E8-66DAD10623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969D00F-C64F-4436-882A-48D4052A16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ADE1C34-1AEF-4365-965C-3DB29CEFA5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9AEDF20-DA78-4EE5-BC2B-EF1833490B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4D98CEF-C971-47CA-AE08-2B1F929911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A7FF378-38E1-4CBE-AD0E-D089C6F7B8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12D2957-3DFF-48C1-88AE-00AEE07BFC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12CB5AB-F918-44F3-A971-7109BC55B0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9500999999999999</c:v>
                </c:pt>
                <c:pt idx="1">
                  <c:v>1.4523999999999999</c:v>
                </c:pt>
                <c:pt idx="2">
                  <c:v>2.4236</c:v>
                </c:pt>
                <c:pt idx="3">
                  <c:v>2.4525000000000001</c:v>
                </c:pt>
                <c:pt idx="4">
                  <c:v>2.3136999999999999</c:v>
                </c:pt>
                <c:pt idx="5">
                  <c:v>2.4967000000000001</c:v>
                </c:pt>
                <c:pt idx="6">
                  <c:v>2.4449999999999998</c:v>
                </c:pt>
              </c:numCache>
            </c:numRef>
          </c:xVal>
          <c:yVal>
            <c:numRef>
              <c:f>Sheet1!$B$2:$B$8</c:f>
              <c:numCache>
                <c:formatCode>General</c:formatCode>
                <c:ptCount val="7"/>
                <c:pt idx="0">
                  <c:v>1.081</c:v>
                </c:pt>
                <c:pt idx="1">
                  <c:v>0.67800000000000005</c:v>
                </c:pt>
                <c:pt idx="2">
                  <c:v>1.276</c:v>
                </c:pt>
                <c:pt idx="3">
                  <c:v>0.97599999999999998</c:v>
                </c:pt>
                <c:pt idx="4">
                  <c:v>1.087</c:v>
                </c:pt>
                <c:pt idx="5">
                  <c:v>1.0640000000000001</c:v>
                </c:pt>
                <c:pt idx="6">
                  <c:v>0.96699999999999997</c:v>
                </c:pt>
              </c:numCache>
            </c:numRef>
          </c:yVal>
          <c:bubbleSize>
            <c:numRef>
              <c:f>Sheet1!$C$2:$C$8</c:f>
              <c:numCache>
                <c:formatCode>General</c:formatCode>
                <c:ptCount val="7"/>
                <c:pt idx="0">
                  <c:v>30253337</c:v>
                </c:pt>
                <c:pt idx="1">
                  <c:v>14481315</c:v>
                </c:pt>
                <c:pt idx="2">
                  <c:v>14007524</c:v>
                </c:pt>
                <c:pt idx="3">
                  <c:v>12109563</c:v>
                </c:pt>
                <c:pt idx="4">
                  <c:v>11825696</c:v>
                </c:pt>
                <c:pt idx="5">
                  <c:v>5828870</c:v>
                </c:pt>
                <c:pt idx="6">
                  <c:v>3949392</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Boursin</c:v>
                  </c:pt>
                  <c:pt idx="3">
                    <c:v>Paysan Breton</c:v>
                  </c:pt>
                  <c:pt idx="4">
                    <c:v>Tartare</c:v>
                  </c:pt>
                  <c:pt idx="5">
                    <c:v>Carre Frais</c:v>
                  </c:pt>
                  <c:pt idx="6">
                    <c:v>Philadelphi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7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3F603CD-84FC-48A2-83B9-5354A67A42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6DDCE85-5F50-4989-91DB-6CFD399A18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D4681AF-A2C5-4294-A9B3-3A0533ACB0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53705B3-B559-4ADE-A5F5-C11DC7F823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174FD38-8EB3-4EA2-B837-4B7901545D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AB292CE-D768-481E-8C51-1C5C8E00B3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762AEDE-CE3A-425D-8356-D1A556DAD6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79F88FF-C7BD-467C-9CB6-B86CDB3DAD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9124000000000001</c:v>
                </c:pt>
                <c:pt idx="1">
                  <c:v>2.2103999999999999</c:v>
                </c:pt>
                <c:pt idx="2">
                  <c:v>2.1956000000000002</c:v>
                </c:pt>
                <c:pt idx="3">
                  <c:v>2.9782000000000002</c:v>
                </c:pt>
                <c:pt idx="4">
                  <c:v>2.7964000000000002</c:v>
                </c:pt>
                <c:pt idx="5">
                  <c:v>2.2454000000000001</c:v>
                </c:pt>
              </c:numCache>
            </c:numRef>
          </c:xVal>
          <c:yVal>
            <c:numRef>
              <c:f>Sheet1!$B$2:$B$7</c:f>
              <c:numCache>
                <c:formatCode>General</c:formatCode>
                <c:ptCount val="6"/>
                <c:pt idx="0">
                  <c:v>0.91100000000000003</c:v>
                </c:pt>
                <c:pt idx="1">
                  <c:v>1.0169999999999999</c:v>
                </c:pt>
                <c:pt idx="2">
                  <c:v>1.163</c:v>
                </c:pt>
                <c:pt idx="3">
                  <c:v>1.099</c:v>
                </c:pt>
                <c:pt idx="4">
                  <c:v>1.5089999999999999</c:v>
                </c:pt>
                <c:pt idx="5">
                  <c:v>1.514</c:v>
                </c:pt>
              </c:numCache>
            </c:numRef>
          </c:yVal>
          <c:bubbleSize>
            <c:numRef>
              <c:f>Sheet1!$C$2:$C$7</c:f>
              <c:numCache>
                <c:formatCode>General</c:formatCode>
                <c:ptCount val="6"/>
                <c:pt idx="0">
                  <c:v>648086880</c:v>
                </c:pt>
                <c:pt idx="1">
                  <c:v>128025062</c:v>
                </c:pt>
                <c:pt idx="2">
                  <c:v>80048487</c:v>
                </c:pt>
                <c:pt idx="3">
                  <c:v>67882460</c:v>
                </c:pt>
                <c:pt idx="4">
                  <c:v>18235670</c:v>
                </c:pt>
                <c:pt idx="5">
                  <c:v>11870220</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Casa Azzurra</c:v>
                  </c:pt>
                  <c:pt idx="3">
                    <c:v>Salakis</c:v>
                  </c:pt>
                  <c:pt idx="4">
                    <c:v>Islos</c:v>
                  </c:pt>
                  <c:pt idx="5">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1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B967658-64EB-4F3D-BC51-6CD2AA7523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E98C6CB-C203-4525-8B48-7917AC34A7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F22A0E9-CC25-4864-9E5C-C9653B256A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2D143A2-F3EE-4E39-9605-963908AF86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4ECEBB0-97D7-4039-9E15-8829EFA45E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60DD657-543B-4BCE-8734-001D1AF6C2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B0289A1-B612-460D-982B-83BC7F37EF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9F7C08F-9925-448B-B247-464D441E68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4306999999999999</c:v>
                </c:pt>
                <c:pt idx="1">
                  <c:v>2.5705</c:v>
                </c:pt>
                <c:pt idx="2">
                  <c:v>2.8330000000000002</c:v>
                </c:pt>
                <c:pt idx="3">
                  <c:v>3.2755999999999998</c:v>
                </c:pt>
                <c:pt idx="4">
                  <c:v>2.9988999999999999</c:v>
                </c:pt>
                <c:pt idx="5">
                  <c:v>3.1339999999999999</c:v>
                </c:pt>
                <c:pt idx="6">
                  <c:v>2.4619</c:v>
                </c:pt>
                <c:pt idx="7">
                  <c:v>3.7854999999999999</c:v>
                </c:pt>
                <c:pt idx="8">
                  <c:v>3.2589000000000001</c:v>
                </c:pt>
              </c:numCache>
            </c:numRef>
          </c:xVal>
          <c:yVal>
            <c:numRef>
              <c:f>Sheet1!$B$2:$B$10</c:f>
              <c:numCache>
                <c:formatCode>General</c:formatCode>
                <c:ptCount val="9"/>
                <c:pt idx="0">
                  <c:v>0.88300000000000001</c:v>
                </c:pt>
                <c:pt idx="1">
                  <c:v>0.82199999999999995</c:v>
                </c:pt>
                <c:pt idx="2">
                  <c:v>1.0469999999999999</c:v>
                </c:pt>
                <c:pt idx="3">
                  <c:v>1.113</c:v>
                </c:pt>
                <c:pt idx="4">
                  <c:v>1.1220000000000001</c:v>
                </c:pt>
                <c:pt idx="5">
                  <c:v>0.77400000000000002</c:v>
                </c:pt>
                <c:pt idx="6">
                  <c:v>0.67400000000000004</c:v>
                </c:pt>
                <c:pt idx="7">
                  <c:v>1.4590000000000001</c:v>
                </c:pt>
                <c:pt idx="8">
                  <c:v>1.2</c:v>
                </c:pt>
              </c:numCache>
            </c:numRef>
          </c:yVal>
          <c:bubbleSize>
            <c:numRef>
              <c:f>Sheet1!$C$2:$C$10</c:f>
              <c:numCache>
                <c:formatCode>General</c:formatCode>
                <c:ptCount val="9"/>
                <c:pt idx="0">
                  <c:v>498218809</c:v>
                </c:pt>
                <c:pt idx="1">
                  <c:v>67782408</c:v>
                </c:pt>
                <c:pt idx="2">
                  <c:v>36346839</c:v>
                </c:pt>
                <c:pt idx="3">
                  <c:v>32529804</c:v>
                </c:pt>
                <c:pt idx="4">
                  <c:v>32178133</c:v>
                </c:pt>
                <c:pt idx="5">
                  <c:v>32133765</c:v>
                </c:pt>
                <c:pt idx="6">
                  <c:v>25755857</c:v>
                </c:pt>
                <c:pt idx="7">
                  <c:v>23637907</c:v>
                </c:pt>
                <c:pt idx="8">
                  <c:v>23381012</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Caprice Des Dieux</c:v>
                  </c:pt>
                  <c:pt idx="4">
                    <c:v>St Moret</c:v>
                  </c:pt>
                  <c:pt idx="5">
                    <c:v>La Vache Qui Rit</c:v>
                  </c:pt>
                  <c:pt idx="6">
                    <c:v>Coeur De Lion</c:v>
                  </c:pt>
                  <c:pt idx="7">
                    <c:v>Apericube</c:v>
                  </c:pt>
                  <c:pt idx="8">
                    <c:v>Entremon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5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FB7BB9A-EDA8-48EE-B929-3E1D563967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822F408-5024-45C5-9404-28AC1D9D1D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3BBD34D-F94C-4CAD-B5E0-0415AF23FB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EFE645C-1C28-471C-A550-A0C44EF8E6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2D9223C-C27E-4D83-A105-A4F12E7527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0C522AD-6178-48DA-BAEA-3F0F08BF3E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7DF66C5-BF2F-4684-996C-6032873447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8C4B6FC-5351-433E-BE2C-643C77F5F9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1006</c:v>
                </c:pt>
                <c:pt idx="1">
                  <c:v>2.1936</c:v>
                </c:pt>
                <c:pt idx="2">
                  <c:v>2.3405</c:v>
                </c:pt>
                <c:pt idx="3">
                  <c:v>3.0482</c:v>
                </c:pt>
                <c:pt idx="4">
                  <c:v>2.7654000000000001</c:v>
                </c:pt>
                <c:pt idx="5">
                  <c:v>2.2364000000000002</c:v>
                </c:pt>
              </c:numCache>
            </c:numRef>
          </c:xVal>
          <c:yVal>
            <c:numRef>
              <c:f>Sheet1!$B$2:$B$7</c:f>
              <c:numCache>
                <c:formatCode>General</c:formatCode>
                <c:ptCount val="6"/>
                <c:pt idx="0">
                  <c:v>0.91800000000000004</c:v>
                </c:pt>
                <c:pt idx="1">
                  <c:v>0.94699999999999995</c:v>
                </c:pt>
                <c:pt idx="2">
                  <c:v>1.149</c:v>
                </c:pt>
                <c:pt idx="3">
                  <c:v>1.032</c:v>
                </c:pt>
                <c:pt idx="4">
                  <c:v>1.3859999999999999</c:v>
                </c:pt>
                <c:pt idx="5">
                  <c:v>1.403</c:v>
                </c:pt>
              </c:numCache>
            </c:numRef>
          </c:yVal>
          <c:bubbleSize>
            <c:numRef>
              <c:f>Sheet1!$C$2:$C$7</c:f>
              <c:numCache>
                <c:formatCode>General</c:formatCode>
                <c:ptCount val="6"/>
                <c:pt idx="0">
                  <c:v>111360239</c:v>
                </c:pt>
                <c:pt idx="1">
                  <c:v>19606463</c:v>
                </c:pt>
                <c:pt idx="2">
                  <c:v>15221952</c:v>
                </c:pt>
                <c:pt idx="3">
                  <c:v>12937123</c:v>
                </c:pt>
                <c:pt idx="4">
                  <c:v>3699783</c:v>
                </c:pt>
                <c:pt idx="5">
                  <c:v>3196825</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Casa Azzurra</c:v>
                  </c:pt>
                  <c:pt idx="3">
                    <c:v>Salakis</c:v>
                  </c:pt>
                  <c:pt idx="4">
                    <c:v>Islos</c:v>
                  </c:pt>
                  <c:pt idx="5">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92950FE-C60D-4F9E-8F71-5A32FDDA66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24793D0-FD64-42E4-ACA5-3DC9DFA027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E53E6F3-BB9C-47AD-BA68-99C793A312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1B8E8A6-F6D6-43D2-A6DF-D360DBFE67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C361491-4576-4EC7-8C0F-4D64B292C3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F703D06-464C-420C-A042-DDF817B53B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C73F1E4-8D11-451D-BBA6-18255C3E19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94EDDF1-0EE5-4FBD-A8F1-B02677B9BE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8496999999999999</c:v>
                </c:pt>
                <c:pt idx="1">
                  <c:v>2.2946</c:v>
                </c:pt>
                <c:pt idx="2">
                  <c:v>2.9693999999999998</c:v>
                </c:pt>
                <c:pt idx="3">
                  <c:v>2.3797000000000001</c:v>
                </c:pt>
                <c:pt idx="4">
                  <c:v>2.8961999999999999</c:v>
                </c:pt>
                <c:pt idx="5">
                  <c:v>2.3374000000000001</c:v>
                </c:pt>
              </c:numCache>
            </c:numRef>
          </c:xVal>
          <c:yVal>
            <c:numRef>
              <c:f>Sheet1!$B$2:$B$7</c:f>
              <c:numCache>
                <c:formatCode>General</c:formatCode>
                <c:ptCount val="6"/>
                <c:pt idx="0">
                  <c:v>0.88700000000000001</c:v>
                </c:pt>
                <c:pt idx="1">
                  <c:v>1.0820000000000001</c:v>
                </c:pt>
                <c:pt idx="2">
                  <c:v>1.1160000000000001</c:v>
                </c:pt>
                <c:pt idx="3">
                  <c:v>1.236</c:v>
                </c:pt>
                <c:pt idx="4">
                  <c:v>1.621</c:v>
                </c:pt>
                <c:pt idx="5">
                  <c:v>1.6379999999999999</c:v>
                </c:pt>
              </c:numCache>
            </c:numRef>
          </c:yVal>
          <c:bubbleSize>
            <c:numRef>
              <c:f>Sheet1!$C$2:$C$7</c:f>
              <c:numCache>
                <c:formatCode>General</c:formatCode>
                <c:ptCount val="6"/>
                <c:pt idx="0">
                  <c:v>70217825</c:v>
                </c:pt>
                <c:pt idx="1">
                  <c:v>23364293</c:v>
                </c:pt>
                <c:pt idx="2">
                  <c:v>10441025</c:v>
                </c:pt>
                <c:pt idx="3">
                  <c:v>7314596</c:v>
                </c:pt>
                <c:pt idx="4">
                  <c:v>2904193</c:v>
                </c:pt>
                <c:pt idx="5">
                  <c:v>1794318</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Salakis</c:v>
                  </c:pt>
                  <c:pt idx="3">
                    <c:v>Casa Azzurra</c:v>
                  </c:pt>
                  <c:pt idx="4">
                    <c:v>Islos</c:v>
                  </c:pt>
                  <c:pt idx="5">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3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Private Label</c:v>
                </c:pt>
                <c:pt idx="1">
                  <c:v>All Others</c:v>
                </c:pt>
                <c:pt idx="2">
                  <c:v>President</c:v>
                </c:pt>
                <c:pt idx="3">
                  <c:v>Caprice Des Dieux</c:v>
                </c:pt>
              </c:strCache>
            </c:strRef>
          </c:cat>
          <c:val>
            <c:numRef>
              <c:f>Sheet1!$B$2:$B$5</c:f>
              <c:numCache>
                <c:formatCode>General</c:formatCode>
                <c:ptCount val="4"/>
                <c:pt idx="0">
                  <c:v>1.7204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Private Label</c:v>
                </c:pt>
                <c:pt idx="1">
                  <c:v>All Others</c:v>
                </c:pt>
                <c:pt idx="2">
                  <c:v>President</c:v>
                </c:pt>
                <c:pt idx="3">
                  <c:v>Caprice Des Dieux</c:v>
                </c:pt>
              </c:strCache>
            </c:strRef>
          </c:cat>
          <c:val>
            <c:numRef>
              <c:f>Sheet1!$C$2:$C$5</c:f>
              <c:numCache>
                <c:formatCode>General</c:formatCode>
                <c:ptCount val="4"/>
                <c:pt idx="0">
                  <c:v>1.337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Private Label</c:v>
                </c:pt>
                <c:pt idx="1">
                  <c:v>All Others</c:v>
                </c:pt>
                <c:pt idx="2">
                  <c:v>President</c:v>
                </c:pt>
                <c:pt idx="3">
                  <c:v>Caprice Des Dieux</c:v>
                </c:pt>
              </c:strCache>
            </c:strRef>
          </c:cat>
          <c:val>
            <c:numRef>
              <c:f>Sheet1!$D$2:$D$5</c:f>
              <c:numCache>
                <c:formatCode>General</c:formatCode>
                <c:ptCount val="4"/>
                <c:pt idx="0">
                  <c:v>1.87810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Private Label</c:v>
                </c:pt>
                <c:pt idx="1">
                  <c:v>All Others</c:v>
                </c:pt>
                <c:pt idx="2">
                  <c:v>President</c:v>
                </c:pt>
                <c:pt idx="3">
                  <c:v>Caprice Des Dieux</c:v>
                </c:pt>
              </c:strCache>
            </c:strRef>
          </c:cat>
          <c:val>
            <c:numRef>
              <c:f>Sheet1!$E$2:$E$5</c:f>
              <c:numCache>
                <c:formatCode>General</c:formatCode>
                <c:ptCount val="4"/>
                <c:pt idx="0">
                  <c:v>2.142399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Private Label</c:v>
                </c:pt>
                <c:pt idx="1">
                  <c:v>All Others</c:v>
                </c:pt>
                <c:pt idx="2">
                  <c:v>President</c:v>
                </c:pt>
                <c:pt idx="3">
                  <c:v>Caprice Des Dieux</c:v>
                </c:pt>
              </c:strCache>
            </c:strRef>
          </c:cat>
          <c:val>
            <c:numRef>
              <c:f>Sheet1!$F$2:$F$5</c:f>
              <c:numCache>
                <c:formatCode>General</c:formatCode>
                <c:ptCount val="4"/>
                <c:pt idx="0">
                  <c:v>2.1309999999999998</c:v>
                </c:pt>
                <c:pt idx="1">
                  <c:v>3.3942999999999999</c:v>
                </c:pt>
                <c:pt idx="2">
                  <c:v>2.336199999999999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Private Label</c:v>
                </c:pt>
                <c:pt idx="1">
                  <c:v>All Others</c:v>
                </c:pt>
                <c:pt idx="2">
                  <c:v>President</c:v>
                </c:pt>
                <c:pt idx="3">
                  <c:v>Caprice Des Dieux</c:v>
                </c:pt>
              </c:strCache>
            </c:strRef>
          </c:cat>
          <c:val>
            <c:numRef>
              <c:f>Sheet1!$G$2:$G$5</c:f>
              <c:numCache>
                <c:formatCode>General</c:formatCode>
                <c:ptCount val="4"/>
                <c:pt idx="0">
                  <c:v>2.3026</c:v>
                </c:pt>
                <c:pt idx="1">
                  <c:v>3.1833</c:v>
                </c:pt>
                <c:pt idx="2">
                  <c:v>2.155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Private Label</c:v>
                </c:pt>
                <c:pt idx="1">
                  <c:v>All Others</c:v>
                </c:pt>
                <c:pt idx="2">
                  <c:v>President</c:v>
                </c:pt>
                <c:pt idx="3">
                  <c:v>Caprice Des Dieux</c:v>
                </c:pt>
              </c:strCache>
            </c:strRef>
          </c:cat>
          <c:val>
            <c:numRef>
              <c:f>Sheet1!$H$2:$H$5</c:f>
              <c:numCache>
                <c:formatCode>General</c:formatCode>
                <c:ptCount val="4"/>
                <c:pt idx="0">
                  <c:v>2.4807999999999999</c:v>
                </c:pt>
                <c:pt idx="3">
                  <c:v>3.501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Private Label</c:v>
                </c:pt>
                <c:pt idx="1">
                  <c:v>All Others</c:v>
                </c:pt>
                <c:pt idx="2">
                  <c:v>President</c:v>
                </c:pt>
                <c:pt idx="3">
                  <c:v>Caprice Des Dieux</c:v>
                </c:pt>
              </c:strCache>
            </c:strRef>
          </c:cat>
          <c:val>
            <c:numRef>
              <c:f>Sheet1!$I$2:$I$5</c:f>
              <c:numCache>
                <c:formatCode>General</c:formatCode>
                <c:ptCount val="4"/>
                <c:pt idx="0">
                  <c:v>2.734300000000000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Private Label</c:v>
                </c:pt>
                <c:pt idx="1">
                  <c:v>All Others</c:v>
                </c:pt>
                <c:pt idx="2">
                  <c:v>President</c:v>
                </c:pt>
                <c:pt idx="3">
                  <c:v>Caprice Des Dieux</c:v>
                </c:pt>
              </c:strCache>
            </c:strRef>
          </c:cat>
          <c:val>
            <c:numRef>
              <c:f>Sheet1!$J$2:$J$5</c:f>
              <c:numCache>
                <c:formatCode>General</c:formatCode>
                <c:ptCount val="4"/>
                <c:pt idx="0">
                  <c:v>3.5505</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Private Label</c:v>
                </c:pt>
                <c:pt idx="1">
                  <c:v>All Others</c:v>
                </c:pt>
                <c:pt idx="2">
                  <c:v>President</c:v>
                </c:pt>
                <c:pt idx="3">
                  <c:v>Caprice Des Dieux</c:v>
                </c:pt>
              </c:strCache>
            </c:strRef>
          </c:cat>
          <c:val>
            <c:numRef>
              <c:f>Sheet1!$K$2:$K$5</c:f>
              <c:numCache>
                <c:formatCode>General</c:formatCode>
                <c:ptCount val="4"/>
                <c:pt idx="0">
                  <c:v>3.892399999999999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7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Private Label</c:v>
                </c:pt>
                <c:pt idx="1">
                  <c:v>All Others</c:v>
                </c:pt>
                <c:pt idx="2">
                  <c:v>President</c:v>
                </c:pt>
                <c:pt idx="3">
                  <c:v>Caprice Des Dieux</c:v>
                </c:pt>
              </c:strCache>
            </c:strRef>
          </c:cat>
          <c:val>
            <c:numRef>
              <c:f>Sheet1!$L$2:$L$5</c:f>
              <c:numCache>
                <c:formatCode>General</c:formatCode>
                <c:ptCount val="4"/>
                <c:pt idx="0">
                  <c:v>1.9267000000000001</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Private Label</c:v>
                </c:pt>
                <c:pt idx="1">
                  <c:v>All Others</c:v>
                </c:pt>
                <c:pt idx="2">
                  <c:v>President</c:v>
                </c:pt>
                <c:pt idx="3">
                  <c:v>Caprice Des Dieux</c:v>
                </c:pt>
                <c:pt idx="4">
                  <c:v>La Vache Qui Rit</c:v>
                </c:pt>
                <c:pt idx="5">
                  <c:v>Apericube</c:v>
                </c:pt>
              </c:strCache>
            </c:strRef>
          </c:cat>
          <c:val>
            <c:numRef>
              <c:f>Sheet1!$B$2:$B$7</c:f>
              <c:numCache>
                <c:formatCode>General</c:formatCode>
                <c:ptCount val="6"/>
                <c:pt idx="0">
                  <c:v>1.7988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rivate Label</c:v>
                </c:pt>
                <c:pt idx="1">
                  <c:v>All Others</c:v>
                </c:pt>
                <c:pt idx="2">
                  <c:v>President</c:v>
                </c:pt>
                <c:pt idx="3">
                  <c:v>Caprice Des Dieux</c:v>
                </c:pt>
                <c:pt idx="4">
                  <c:v>La Vache Qui Rit</c:v>
                </c:pt>
                <c:pt idx="5">
                  <c:v>Apericube</c:v>
                </c:pt>
              </c:strCache>
            </c:strRef>
          </c:cat>
          <c:val>
            <c:numRef>
              <c:f>Sheet1!$C$2:$C$7</c:f>
              <c:numCache>
                <c:formatCode>General</c:formatCode>
                <c:ptCount val="6"/>
                <c:pt idx="0">
                  <c:v>1.413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rivate Label</c:v>
                </c:pt>
                <c:pt idx="1">
                  <c:v>All Others</c:v>
                </c:pt>
                <c:pt idx="2">
                  <c:v>President</c:v>
                </c:pt>
                <c:pt idx="3">
                  <c:v>Caprice Des Dieux</c:v>
                </c:pt>
                <c:pt idx="4">
                  <c:v>La Vache Qui Rit</c:v>
                </c:pt>
                <c:pt idx="5">
                  <c:v>Apericube</c:v>
                </c:pt>
              </c:strCache>
            </c:strRef>
          </c:cat>
          <c:val>
            <c:numRef>
              <c:f>Sheet1!$D$2:$D$7</c:f>
              <c:numCache>
                <c:formatCode>General</c:formatCode>
                <c:ptCount val="6"/>
                <c:pt idx="0">
                  <c:v>2.14400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rivate Label</c:v>
                </c:pt>
                <c:pt idx="1">
                  <c:v>All Others</c:v>
                </c:pt>
                <c:pt idx="2">
                  <c:v>President</c:v>
                </c:pt>
                <c:pt idx="3">
                  <c:v>Caprice Des Dieux</c:v>
                </c:pt>
                <c:pt idx="4">
                  <c:v>La Vache Qui Rit</c:v>
                </c:pt>
                <c:pt idx="5">
                  <c:v>Apericube</c:v>
                </c:pt>
              </c:strCache>
            </c:strRef>
          </c:cat>
          <c:val>
            <c:numRef>
              <c:f>Sheet1!$E$2:$E$7</c:f>
              <c:numCache>
                <c:formatCode>General</c:formatCode>
                <c:ptCount val="6"/>
                <c:pt idx="0">
                  <c:v>2.251500000000000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rivate Label</c:v>
                </c:pt>
                <c:pt idx="1">
                  <c:v>All Others</c:v>
                </c:pt>
                <c:pt idx="2">
                  <c:v>President</c:v>
                </c:pt>
                <c:pt idx="3">
                  <c:v>Caprice Des Dieux</c:v>
                </c:pt>
                <c:pt idx="4">
                  <c:v>La Vache Qui Rit</c:v>
                </c:pt>
                <c:pt idx="5">
                  <c:v>Apericube</c:v>
                </c:pt>
              </c:strCache>
            </c:strRef>
          </c:cat>
          <c:val>
            <c:numRef>
              <c:f>Sheet1!$F$2:$F$7</c:f>
              <c:numCache>
                <c:formatCode>General</c:formatCode>
                <c:ptCount val="6"/>
                <c:pt idx="0">
                  <c:v>2.2938999999999998</c:v>
                </c:pt>
                <c:pt idx="1">
                  <c:v>3.5381999999999998</c:v>
                </c:pt>
                <c:pt idx="2">
                  <c:v>2.338099999999999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Private Label</c:v>
                </c:pt>
                <c:pt idx="1">
                  <c:v>All Others</c:v>
                </c:pt>
                <c:pt idx="2">
                  <c:v>President</c:v>
                </c:pt>
                <c:pt idx="3">
                  <c:v>Caprice Des Dieux</c:v>
                </c:pt>
                <c:pt idx="4">
                  <c:v>La Vache Qui Rit</c:v>
                </c:pt>
                <c:pt idx="5">
                  <c:v>Apericube</c:v>
                </c:pt>
              </c:strCache>
            </c:strRef>
          </c:cat>
          <c:val>
            <c:numRef>
              <c:f>Sheet1!$G$2:$G$7</c:f>
              <c:numCache>
                <c:formatCode>General</c:formatCode>
                <c:ptCount val="6"/>
                <c:pt idx="0">
                  <c:v>2.5775999999999999</c:v>
                </c:pt>
                <c:pt idx="1">
                  <c:v>3.4727999999999999</c:v>
                </c:pt>
                <c:pt idx="2">
                  <c:v>2.2027999999999999</c:v>
                </c:pt>
                <c:pt idx="5">
                  <c:v>4.4252000000000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Private Label</c:v>
                </c:pt>
                <c:pt idx="1">
                  <c:v>All Others</c:v>
                </c:pt>
                <c:pt idx="2">
                  <c:v>President</c:v>
                </c:pt>
                <c:pt idx="3">
                  <c:v>Caprice Des Dieux</c:v>
                </c:pt>
                <c:pt idx="4">
                  <c:v>La Vache Qui Rit</c:v>
                </c:pt>
                <c:pt idx="5">
                  <c:v>Apericube</c:v>
                </c:pt>
              </c:strCache>
            </c:strRef>
          </c:cat>
          <c:val>
            <c:numRef>
              <c:f>Sheet1!$H$2:$H$7</c:f>
              <c:numCache>
                <c:formatCode>General</c:formatCode>
                <c:ptCount val="6"/>
                <c:pt idx="0">
                  <c:v>2.4759000000000002</c:v>
                </c:pt>
                <c:pt idx="3">
                  <c:v>3.517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rivate Label</c:v>
                </c:pt>
                <c:pt idx="1">
                  <c:v>All Others</c:v>
                </c:pt>
                <c:pt idx="2">
                  <c:v>President</c:v>
                </c:pt>
                <c:pt idx="3">
                  <c:v>Caprice Des Dieux</c:v>
                </c:pt>
                <c:pt idx="4">
                  <c:v>La Vache Qui Rit</c:v>
                </c:pt>
                <c:pt idx="5">
                  <c:v>Apericube</c:v>
                </c:pt>
              </c:strCache>
            </c:strRef>
          </c:cat>
          <c:val>
            <c:numRef>
              <c:f>Sheet1!$I$2:$I$7</c:f>
              <c:numCache>
                <c:formatCode>General</c:formatCode>
                <c:ptCount val="6"/>
                <c:pt idx="0">
                  <c:v>2.619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Private Label</c:v>
                </c:pt>
                <c:pt idx="1">
                  <c:v>All Others</c:v>
                </c:pt>
                <c:pt idx="2">
                  <c:v>President</c:v>
                </c:pt>
                <c:pt idx="3">
                  <c:v>Caprice Des Dieux</c:v>
                </c:pt>
                <c:pt idx="4">
                  <c:v>La Vache Qui Rit</c:v>
                </c:pt>
                <c:pt idx="5">
                  <c:v>Apericube</c:v>
                </c:pt>
              </c:strCache>
            </c:strRef>
          </c:cat>
          <c:val>
            <c:numRef>
              <c:f>Sheet1!$J$2:$J$7</c:f>
              <c:numCache>
                <c:formatCode>General</c:formatCode>
                <c:ptCount val="6"/>
                <c:pt idx="0">
                  <c:v>3.823599999999999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rivate Label</c:v>
                </c:pt>
                <c:pt idx="1">
                  <c:v>All Others</c:v>
                </c:pt>
                <c:pt idx="2">
                  <c:v>President</c:v>
                </c:pt>
                <c:pt idx="3">
                  <c:v>Caprice Des Dieux</c:v>
                </c:pt>
                <c:pt idx="4">
                  <c:v>La Vache Qui Rit</c:v>
                </c:pt>
                <c:pt idx="5">
                  <c:v>Apericube</c:v>
                </c:pt>
              </c:strCache>
            </c:strRef>
          </c:cat>
          <c:val>
            <c:numRef>
              <c:f>Sheet1!$K$2:$K$7</c:f>
              <c:numCache>
                <c:formatCode>General</c:formatCode>
                <c:ptCount val="6"/>
                <c:pt idx="0">
                  <c:v>3.9592999999999998</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12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rivate Label</c:v>
                </c:pt>
                <c:pt idx="1">
                  <c:v>All Others</c:v>
                </c:pt>
                <c:pt idx="2">
                  <c:v>President</c:v>
                </c:pt>
                <c:pt idx="3">
                  <c:v>Caprice Des Dieux</c:v>
                </c:pt>
                <c:pt idx="4">
                  <c:v>La Vache Qui Rit</c:v>
                </c:pt>
                <c:pt idx="5">
                  <c:v>Apericube</c:v>
                </c:pt>
              </c:strCache>
            </c:strRef>
          </c:cat>
          <c:val>
            <c:numRef>
              <c:f>Sheet1!$L$2:$L$7</c:f>
              <c:numCache>
                <c:formatCode>General</c:formatCode>
                <c:ptCount val="6"/>
                <c:pt idx="4">
                  <c:v>3.9066000000000001</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Private Label</c:v>
                </c:pt>
                <c:pt idx="1">
                  <c:v>President</c:v>
                </c:pt>
                <c:pt idx="2">
                  <c:v>Entremont</c:v>
                </c:pt>
                <c:pt idx="3">
                  <c:v>Caprice Des Dieux</c:v>
                </c:pt>
              </c:strCache>
            </c:strRef>
          </c:cat>
          <c:val>
            <c:numRef>
              <c:f>Sheet1!$B$2:$B$5</c:f>
              <c:numCache>
                <c:formatCode>General</c:formatCode>
                <c:ptCount val="4"/>
                <c:pt idx="0">
                  <c:v>1.52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0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Private Label</c:v>
                </c:pt>
                <c:pt idx="1">
                  <c:v>President</c:v>
                </c:pt>
                <c:pt idx="2">
                  <c:v>Entremont</c:v>
                </c:pt>
                <c:pt idx="3">
                  <c:v>Caprice Des Dieux</c:v>
                </c:pt>
              </c:strCache>
            </c:strRef>
          </c:cat>
          <c:val>
            <c:numRef>
              <c:f>Sheet1!$C$2:$C$5</c:f>
              <c:numCache>
                <c:formatCode>General</c:formatCode>
                <c:ptCount val="4"/>
                <c:pt idx="0">
                  <c:v>8.032600000000000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Private Label</c:v>
                </c:pt>
                <c:pt idx="1">
                  <c:v>President</c:v>
                </c:pt>
                <c:pt idx="2">
                  <c:v>Entremont</c:v>
                </c:pt>
                <c:pt idx="3">
                  <c:v>Caprice Des Dieux</c:v>
                </c:pt>
              </c:strCache>
            </c:strRef>
          </c:cat>
          <c:val>
            <c:numRef>
              <c:f>Sheet1!$D$2:$D$5</c:f>
              <c:numCache>
                <c:formatCode>General</c:formatCode>
                <c:ptCount val="4"/>
                <c:pt idx="0">
                  <c:v>1.33370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Private Label</c:v>
                </c:pt>
                <c:pt idx="1">
                  <c:v>President</c:v>
                </c:pt>
                <c:pt idx="2">
                  <c:v>Entremont</c:v>
                </c:pt>
                <c:pt idx="3">
                  <c:v>Caprice Des Dieux</c:v>
                </c:pt>
              </c:strCache>
            </c:strRef>
          </c:cat>
          <c:val>
            <c:numRef>
              <c:f>Sheet1!$E$2:$E$5</c:f>
              <c:numCache>
                <c:formatCode>General</c:formatCode>
                <c:ptCount val="4"/>
                <c:pt idx="0">
                  <c:v>1.864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Private Label</c:v>
                </c:pt>
                <c:pt idx="1">
                  <c:v>President</c:v>
                </c:pt>
                <c:pt idx="2">
                  <c:v>Entremont</c:v>
                </c:pt>
                <c:pt idx="3">
                  <c:v>Caprice Des Dieux</c:v>
                </c:pt>
              </c:strCache>
            </c:strRef>
          </c:cat>
          <c:val>
            <c:numRef>
              <c:f>Sheet1!$F$2:$F$5</c:f>
              <c:numCache>
                <c:formatCode>General</c:formatCode>
                <c:ptCount val="4"/>
                <c:pt idx="0">
                  <c:v>2.0649999999999999</c:v>
                </c:pt>
                <c:pt idx="1">
                  <c:v>2.3121999999999998</c:v>
                </c:pt>
                <c:pt idx="2">
                  <c:v>3.36569999999999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Private Label</c:v>
                </c:pt>
                <c:pt idx="1">
                  <c:v>President</c:v>
                </c:pt>
                <c:pt idx="2">
                  <c:v>Entremont</c:v>
                </c:pt>
                <c:pt idx="3">
                  <c:v>Caprice Des Dieux</c:v>
                </c:pt>
              </c:strCache>
            </c:strRef>
          </c:cat>
          <c:val>
            <c:numRef>
              <c:f>Sheet1!$G$2:$G$5</c:f>
              <c:numCache>
                <c:formatCode>General</c:formatCode>
                <c:ptCount val="4"/>
                <c:pt idx="0">
                  <c:v>2.1406000000000001</c:v>
                </c:pt>
                <c:pt idx="1">
                  <c:v>2.29899999999999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Private Label</c:v>
                </c:pt>
                <c:pt idx="1">
                  <c:v>President</c:v>
                </c:pt>
                <c:pt idx="2">
                  <c:v>Entremont</c:v>
                </c:pt>
                <c:pt idx="3">
                  <c:v>Caprice Des Dieux</c:v>
                </c:pt>
              </c:strCache>
            </c:strRef>
          </c:cat>
          <c:val>
            <c:numRef>
              <c:f>Sheet1!$H$2:$H$5</c:f>
              <c:numCache>
                <c:formatCode>General</c:formatCode>
                <c:ptCount val="4"/>
                <c:pt idx="0">
                  <c:v>2.6758000000000002</c:v>
                </c:pt>
                <c:pt idx="3">
                  <c:v>3.703599999999999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Private Label</c:v>
                </c:pt>
                <c:pt idx="1">
                  <c:v>President</c:v>
                </c:pt>
                <c:pt idx="2">
                  <c:v>Entremont</c:v>
                </c:pt>
                <c:pt idx="3">
                  <c:v>Caprice Des Dieux</c:v>
                </c:pt>
              </c:strCache>
            </c:strRef>
          </c:cat>
          <c:val>
            <c:numRef>
              <c:f>Sheet1!$I$2:$I$5</c:f>
              <c:numCache>
                <c:formatCode>General</c:formatCode>
                <c:ptCount val="4"/>
                <c:pt idx="0">
                  <c:v>3.1276000000000002</c:v>
                </c:pt>
                <c:pt idx="1">
                  <c:v>3.249299999999999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Private Label</c:v>
                </c:pt>
                <c:pt idx="1">
                  <c:v>President</c:v>
                </c:pt>
                <c:pt idx="2">
                  <c:v>Entremont</c:v>
                </c:pt>
                <c:pt idx="3">
                  <c:v>Caprice Des Dieux</c:v>
                </c:pt>
              </c:strCache>
            </c:strRef>
          </c:cat>
          <c:val>
            <c:numRef>
              <c:f>Sheet1!$J$2:$J$5</c:f>
              <c:numCache>
                <c:formatCode>General</c:formatCode>
                <c:ptCount val="4"/>
                <c:pt idx="0">
                  <c:v>4.0034000000000001</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Private Label</c:v>
                </c:pt>
                <c:pt idx="1">
                  <c:v>President</c:v>
                </c:pt>
                <c:pt idx="2">
                  <c:v>Entremont</c:v>
                </c:pt>
                <c:pt idx="3">
                  <c:v>Caprice Des Dieux</c:v>
                </c:pt>
              </c:strCache>
            </c:strRef>
          </c:cat>
          <c:val>
            <c:numRef>
              <c:f>Sheet1!$K$2:$K$5</c:f>
              <c:numCache>
                <c:formatCode>General</c:formatCode>
                <c:ptCount val="4"/>
                <c:pt idx="0">
                  <c:v>3.8490000000000002</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7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Private Label</c:v>
                </c:pt>
                <c:pt idx="1">
                  <c:v>President</c:v>
                </c:pt>
                <c:pt idx="2">
                  <c:v>Entremont</c:v>
                </c:pt>
                <c:pt idx="3">
                  <c:v>Caprice Des Dieux</c:v>
                </c:pt>
              </c:strCache>
            </c:strRef>
          </c:cat>
          <c:val>
            <c:numRef>
              <c:f>Sheet1!$L$2:$L$5</c:f>
              <c:numCache>
                <c:formatCode>General</c:formatCode>
                <c:ptCount val="4"/>
                <c:pt idx="0">
                  <c:v>1.9009</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B$2:$B$10</c:f>
              <c:numCache>
                <c:formatCode>General</c:formatCode>
                <c:ptCount val="9"/>
                <c:pt idx="0">
                  <c:v>2.1682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C$2:$C$10</c:f>
              <c:numCache>
                <c:formatCode>General</c:formatCode>
                <c:ptCount val="9"/>
                <c:pt idx="0">
                  <c:v>1.3113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D$2:$D$10</c:f>
              <c:numCache>
                <c:formatCode>General</c:formatCode>
                <c:ptCount val="9"/>
                <c:pt idx="0">
                  <c:v>1.7788999999999999</c:v>
                </c:pt>
                <c:pt idx="4">
                  <c:v>2.332199999999999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E$2:$E$10</c:f>
              <c:numCache>
                <c:formatCode>General</c:formatCode>
                <c:ptCount val="9"/>
                <c:pt idx="0">
                  <c:v>2.1044999999999998</c:v>
                </c:pt>
                <c:pt idx="3">
                  <c:v>2.643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F$2:$F$10</c:f>
              <c:numCache>
                <c:formatCode>General</c:formatCode>
                <c:ptCount val="9"/>
                <c:pt idx="0">
                  <c:v>2.3249</c:v>
                </c:pt>
                <c:pt idx="3">
                  <c:v>2.2473000000000001</c:v>
                </c:pt>
                <c:pt idx="5">
                  <c:v>3.03040000000000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G$2:$G$10</c:f>
              <c:numCache>
                <c:formatCode>General</c:formatCode>
                <c:ptCount val="9"/>
                <c:pt idx="0">
                  <c:v>2.0733999999999999</c:v>
                </c:pt>
                <c:pt idx="1">
                  <c:v>3.1078999999999999</c:v>
                </c:pt>
                <c:pt idx="2">
                  <c:v>2.0386000000000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64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H$2:$H$10</c:f>
              <c:numCache>
                <c:formatCode>General</c:formatCode>
                <c:ptCount val="9"/>
                <c:pt idx="8">
                  <c:v>4.158199999999999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I$2:$I$10</c:f>
              <c:numCache>
                <c:formatCode>General</c:formatCode>
                <c:ptCount val="9"/>
                <c:pt idx="0">
                  <c:v>2.3258000000000001</c:v>
                </c:pt>
                <c:pt idx="4">
                  <c:v>3.5305</c:v>
                </c:pt>
                <c:pt idx="5">
                  <c:v>3.501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5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J$2:$J$10</c:f>
              <c:numCache>
                <c:formatCode>General</c:formatCode>
                <c:ptCount val="9"/>
                <c:pt idx="0">
                  <c:v>2.2444000000000002</c:v>
                </c:pt>
                <c:pt idx="6">
                  <c:v>2.706199999999999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K$2:$K$10</c:f>
              <c:numCache>
                <c:formatCode>General</c:formatCode>
                <c:ptCount val="9"/>
                <c:pt idx="0">
                  <c:v>2.9028999999999998</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0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L$2:$L$10</c:f>
              <c:numCache>
                <c:formatCode>General</c:formatCode>
                <c:ptCount val="9"/>
                <c:pt idx="0">
                  <c:v>3.7364000000000002</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512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M$2:$M$10</c:f>
              <c:numCache>
                <c:formatCode>General</c:formatCode>
                <c:ptCount val="9"/>
                <c:pt idx="7">
                  <c:v>4.2690000000000001</c:v>
                </c:pt>
              </c:numCache>
            </c:numRef>
          </c:val>
          <c:smooth val="0"/>
          <c:extLst>
            <c:ext xmlns:c16="http://schemas.microsoft.com/office/drawing/2014/chart" uri="{C3380CC4-5D6E-409C-BE32-E72D297353CC}">
              <c16:uniqueId val="{0000001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Private Label</c:v>
                </c:pt>
                <c:pt idx="1">
                  <c:v>All Others</c:v>
                </c:pt>
                <c:pt idx="2">
                  <c:v>President</c:v>
                </c:pt>
                <c:pt idx="3">
                  <c:v>Soignon</c:v>
                </c:pt>
                <c:pt idx="4">
                  <c:v>Caprice Des Dieux</c:v>
                </c:pt>
                <c:pt idx="5">
                  <c:v>St Moret</c:v>
                </c:pt>
                <c:pt idx="6">
                  <c:v>La Vache Qui Rit</c:v>
                </c:pt>
                <c:pt idx="7">
                  <c:v>Coeur De Lion</c:v>
                </c:pt>
              </c:strCache>
            </c:strRef>
          </c:cat>
          <c:val>
            <c:numRef>
              <c:f>Sheet1!$B$2:$B$9</c:f>
              <c:numCache>
                <c:formatCode>General</c:formatCode>
                <c:ptCount val="8"/>
                <c:pt idx="0">
                  <c:v>2.3593000000000002</c:v>
                </c:pt>
                <c:pt idx="1">
                  <c:v>2.841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All Others</c:v>
                </c:pt>
                <c:pt idx="2">
                  <c:v>President</c:v>
                </c:pt>
                <c:pt idx="3">
                  <c:v>Soignon</c:v>
                </c:pt>
                <c:pt idx="4">
                  <c:v>Caprice Des Dieux</c:v>
                </c:pt>
                <c:pt idx="5">
                  <c:v>St Moret</c:v>
                </c:pt>
                <c:pt idx="6">
                  <c:v>La Vache Qui Rit</c:v>
                </c:pt>
                <c:pt idx="7">
                  <c:v>Coeur De Lion</c:v>
                </c:pt>
              </c:strCache>
            </c:strRef>
          </c:cat>
          <c:val>
            <c:numRef>
              <c:f>Sheet1!$C$2:$C$9</c:f>
              <c:numCache>
                <c:formatCode>General</c:formatCode>
                <c:ptCount val="8"/>
                <c:pt idx="0">
                  <c:v>1.3940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All Others</c:v>
                </c:pt>
                <c:pt idx="2">
                  <c:v>President</c:v>
                </c:pt>
                <c:pt idx="3">
                  <c:v>Soignon</c:v>
                </c:pt>
                <c:pt idx="4">
                  <c:v>Caprice Des Dieux</c:v>
                </c:pt>
                <c:pt idx="5">
                  <c:v>St Moret</c:v>
                </c:pt>
                <c:pt idx="6">
                  <c:v>La Vache Qui Rit</c:v>
                </c:pt>
                <c:pt idx="7">
                  <c:v>Coeur De Lion</c:v>
                </c:pt>
              </c:strCache>
            </c:strRef>
          </c:cat>
          <c:val>
            <c:numRef>
              <c:f>Sheet1!$D$2:$D$9</c:f>
              <c:numCache>
                <c:formatCode>General</c:formatCode>
                <c:ptCount val="8"/>
                <c:pt idx="0">
                  <c:v>2.0529000000000002</c:v>
                </c:pt>
                <c:pt idx="5">
                  <c:v>2.502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All Others</c:v>
                </c:pt>
                <c:pt idx="2">
                  <c:v>President</c:v>
                </c:pt>
                <c:pt idx="3">
                  <c:v>Soignon</c:v>
                </c:pt>
                <c:pt idx="4">
                  <c:v>Caprice Des Dieux</c:v>
                </c:pt>
                <c:pt idx="5">
                  <c:v>St Moret</c:v>
                </c:pt>
                <c:pt idx="6">
                  <c:v>La Vache Qui Rit</c:v>
                </c:pt>
                <c:pt idx="7">
                  <c:v>Coeur De Lion</c:v>
                </c:pt>
              </c:strCache>
            </c:strRef>
          </c:cat>
          <c:val>
            <c:numRef>
              <c:f>Sheet1!$E$2:$E$9</c:f>
              <c:numCache>
                <c:formatCode>General</c:formatCode>
                <c:ptCount val="8"/>
                <c:pt idx="0">
                  <c:v>2.2012</c:v>
                </c:pt>
                <c:pt idx="3">
                  <c:v>2.74129999999999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All Others</c:v>
                </c:pt>
                <c:pt idx="2">
                  <c:v>President</c:v>
                </c:pt>
                <c:pt idx="3">
                  <c:v>Soignon</c:v>
                </c:pt>
                <c:pt idx="4">
                  <c:v>Caprice Des Dieux</c:v>
                </c:pt>
                <c:pt idx="5">
                  <c:v>St Moret</c:v>
                </c:pt>
                <c:pt idx="6">
                  <c:v>La Vache Qui Rit</c:v>
                </c:pt>
                <c:pt idx="7">
                  <c:v>Coeur De Lion</c:v>
                </c:pt>
              </c:strCache>
            </c:strRef>
          </c:cat>
          <c:val>
            <c:numRef>
              <c:f>Sheet1!$F$2:$F$9</c:f>
              <c:numCache>
                <c:formatCode>General</c:formatCode>
                <c:ptCount val="8"/>
                <c:pt idx="0">
                  <c:v>2.5657000000000001</c:v>
                </c:pt>
                <c:pt idx="1">
                  <c:v>3.7974999999999999</c:v>
                </c:pt>
                <c:pt idx="3">
                  <c:v>2.4201999999999999</c:v>
                </c:pt>
                <c:pt idx="4">
                  <c:v>3.21830000000000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Private Label</c:v>
                </c:pt>
                <c:pt idx="1">
                  <c:v>All Others</c:v>
                </c:pt>
                <c:pt idx="2">
                  <c:v>President</c:v>
                </c:pt>
                <c:pt idx="3">
                  <c:v>Soignon</c:v>
                </c:pt>
                <c:pt idx="4">
                  <c:v>Caprice Des Dieux</c:v>
                </c:pt>
                <c:pt idx="5">
                  <c:v>St Moret</c:v>
                </c:pt>
                <c:pt idx="6">
                  <c:v>La Vache Qui Rit</c:v>
                </c:pt>
                <c:pt idx="7">
                  <c:v>Coeur De Lion</c:v>
                </c:pt>
              </c:strCache>
            </c:strRef>
          </c:cat>
          <c:val>
            <c:numRef>
              <c:f>Sheet1!$G$2:$G$9</c:f>
              <c:numCache>
                <c:formatCode>General</c:formatCode>
                <c:ptCount val="8"/>
                <c:pt idx="0">
                  <c:v>2.2867000000000002</c:v>
                </c:pt>
                <c:pt idx="1">
                  <c:v>3.4182999999999999</c:v>
                </c:pt>
                <c:pt idx="2">
                  <c:v>2.073700000000000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Private Label</c:v>
                </c:pt>
                <c:pt idx="1">
                  <c:v>All Others</c:v>
                </c:pt>
                <c:pt idx="2">
                  <c:v>President</c:v>
                </c:pt>
                <c:pt idx="3">
                  <c:v>Soignon</c:v>
                </c:pt>
                <c:pt idx="4">
                  <c:v>Caprice Des Dieux</c:v>
                </c:pt>
                <c:pt idx="5">
                  <c:v>St Moret</c:v>
                </c:pt>
                <c:pt idx="6">
                  <c:v>La Vache Qui Rit</c:v>
                </c:pt>
                <c:pt idx="7">
                  <c:v>Coeur De Lion</c:v>
                </c:pt>
              </c:strCache>
            </c:strRef>
          </c:cat>
          <c:val>
            <c:numRef>
              <c:f>Sheet1!$H$2:$H$9</c:f>
              <c:numCache>
                <c:formatCode>General</c:formatCode>
                <c:ptCount val="8"/>
                <c:pt idx="0">
                  <c:v>2.3174999999999999</c:v>
                </c:pt>
                <c:pt idx="4">
                  <c:v>3.517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All Others</c:v>
                </c:pt>
                <c:pt idx="2">
                  <c:v>President</c:v>
                </c:pt>
                <c:pt idx="3">
                  <c:v>Soignon</c:v>
                </c:pt>
                <c:pt idx="4">
                  <c:v>Caprice Des Dieux</c:v>
                </c:pt>
                <c:pt idx="5">
                  <c:v>St Moret</c:v>
                </c:pt>
                <c:pt idx="6">
                  <c:v>La Vache Qui Rit</c:v>
                </c:pt>
                <c:pt idx="7">
                  <c:v>Coeur De Lion</c:v>
                </c:pt>
              </c:strCache>
            </c:strRef>
          </c:cat>
          <c:val>
            <c:numRef>
              <c:f>Sheet1!$I$2:$I$9</c:f>
              <c:numCache>
                <c:formatCode>General</c:formatCode>
                <c:ptCount val="8"/>
                <c:pt idx="0">
                  <c:v>2.2848000000000002</c:v>
                </c:pt>
                <c:pt idx="2">
                  <c:v>2.8197000000000001</c:v>
                </c:pt>
                <c:pt idx="7">
                  <c:v>2.903300000000000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7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Private Label</c:v>
                </c:pt>
                <c:pt idx="1">
                  <c:v>All Others</c:v>
                </c:pt>
                <c:pt idx="2">
                  <c:v>President</c:v>
                </c:pt>
                <c:pt idx="3">
                  <c:v>Soignon</c:v>
                </c:pt>
                <c:pt idx="4">
                  <c:v>Caprice Des Dieux</c:v>
                </c:pt>
                <c:pt idx="5">
                  <c:v>St Moret</c:v>
                </c:pt>
                <c:pt idx="6">
                  <c:v>La Vache Qui Rit</c:v>
                </c:pt>
                <c:pt idx="7">
                  <c:v>Coeur De Lion</c:v>
                </c:pt>
              </c:strCache>
            </c:strRef>
          </c:cat>
          <c:val>
            <c:numRef>
              <c:f>Sheet1!$J$2:$J$9</c:f>
              <c:numCache>
                <c:formatCode>General</c:formatCode>
                <c:ptCount val="8"/>
                <c:pt idx="0">
                  <c:v>2.735399999999999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All Others</c:v>
                </c:pt>
                <c:pt idx="2">
                  <c:v>President</c:v>
                </c:pt>
                <c:pt idx="3">
                  <c:v>Soignon</c:v>
                </c:pt>
                <c:pt idx="4">
                  <c:v>Caprice Des Dieux</c:v>
                </c:pt>
                <c:pt idx="5">
                  <c:v>St Moret</c:v>
                </c:pt>
                <c:pt idx="6">
                  <c:v>La Vache Qui Rit</c:v>
                </c:pt>
                <c:pt idx="7">
                  <c:v>Coeur De Lion</c:v>
                </c:pt>
              </c:strCache>
            </c:strRef>
          </c:cat>
          <c:val>
            <c:numRef>
              <c:f>Sheet1!$K$2:$K$9</c:f>
              <c:numCache>
                <c:formatCode>General</c:formatCode>
                <c:ptCount val="8"/>
                <c:pt idx="0">
                  <c:v>3.287399999999999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12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All Others</c:v>
                </c:pt>
                <c:pt idx="2">
                  <c:v>President</c:v>
                </c:pt>
                <c:pt idx="3">
                  <c:v>Soignon</c:v>
                </c:pt>
                <c:pt idx="4">
                  <c:v>Caprice Des Dieux</c:v>
                </c:pt>
                <c:pt idx="5">
                  <c:v>St Moret</c:v>
                </c:pt>
                <c:pt idx="6">
                  <c:v>La Vache Qui Rit</c:v>
                </c:pt>
                <c:pt idx="7">
                  <c:v>Coeur De Lion</c:v>
                </c:pt>
              </c:strCache>
            </c:strRef>
          </c:cat>
          <c:val>
            <c:numRef>
              <c:f>Sheet1!$L$2:$L$9</c:f>
              <c:numCache>
                <c:formatCode>General</c:formatCode>
                <c:ptCount val="8"/>
                <c:pt idx="6">
                  <c:v>3.9066000000000001</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La Vache Qui Rit</c:v>
                </c:pt>
                <c:pt idx="8">
                  <c:v>Coeur De Lion</c:v>
                </c:pt>
              </c:strCache>
            </c:strRef>
          </c:cat>
          <c:val>
            <c:numRef>
              <c:f>Sheet1!$B$2:$B$10</c:f>
              <c:numCache>
                <c:formatCode>General</c:formatCode>
                <c:ptCount val="9"/>
                <c:pt idx="0">
                  <c:v>1.2895000000000001</c:v>
                </c:pt>
                <c:pt idx="6">
                  <c:v>1.51130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La Vache Qui Rit</c:v>
                </c:pt>
                <c:pt idx="8">
                  <c:v>Coeur De Lion</c:v>
                </c:pt>
              </c:strCache>
            </c:strRef>
          </c:cat>
          <c:val>
            <c:numRef>
              <c:f>Sheet1!$C$2:$C$10</c:f>
              <c:numCache>
                <c:formatCode>General</c:formatCode>
                <c:ptCount val="9"/>
                <c:pt idx="0">
                  <c:v>1.7325999999999999</c:v>
                </c:pt>
                <c:pt idx="4">
                  <c:v>2.2576999999999998</c:v>
                </c:pt>
                <c:pt idx="6">
                  <c:v>3.0937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La Vache Qui Rit</c:v>
                </c:pt>
                <c:pt idx="8">
                  <c:v>Coeur De Lion</c:v>
                </c:pt>
              </c:strCache>
            </c:strRef>
          </c:cat>
          <c:val>
            <c:numRef>
              <c:f>Sheet1!$D$2:$D$10</c:f>
              <c:numCache>
                <c:formatCode>General</c:formatCode>
                <c:ptCount val="9"/>
                <c:pt idx="1">
                  <c:v>2.1227</c:v>
                </c:pt>
                <c:pt idx="2">
                  <c:v>2.7021000000000002</c:v>
                </c:pt>
                <c:pt idx="4">
                  <c:v>2.310500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92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La Vache Qui Rit</c:v>
                </c:pt>
                <c:pt idx="8">
                  <c:v>Coeur De Lion</c:v>
                </c:pt>
              </c:strCache>
            </c:strRef>
          </c:cat>
          <c:val>
            <c:numRef>
              <c:f>Sheet1!$E$2:$E$10</c:f>
              <c:numCache>
                <c:formatCode>General</c:formatCode>
                <c:ptCount val="9"/>
                <c:pt idx="7">
                  <c:v>2.48979999999999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La Vache Qui Rit</c:v>
                </c:pt>
                <c:pt idx="8">
                  <c:v>Coeur De Lion</c:v>
                </c:pt>
              </c:strCache>
            </c:strRef>
          </c:cat>
          <c:val>
            <c:numRef>
              <c:f>Sheet1!$F$2:$F$10</c:f>
              <c:numCache>
                <c:formatCode>General</c:formatCode>
                <c:ptCount val="9"/>
                <c:pt idx="0">
                  <c:v>2.3788</c:v>
                </c:pt>
                <c:pt idx="2">
                  <c:v>2.2593999999999999</c:v>
                </c:pt>
                <c:pt idx="5">
                  <c:v>3.055600000000000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La Vache Qui Rit</c:v>
                </c:pt>
                <c:pt idx="8">
                  <c:v>Coeur De Lion</c:v>
                </c:pt>
              </c:strCache>
            </c:strRef>
          </c:cat>
          <c:val>
            <c:numRef>
              <c:f>Sheet1!$G$2:$G$10</c:f>
              <c:numCache>
                <c:formatCode>General</c:formatCode>
                <c:ptCount val="9"/>
                <c:pt idx="0">
                  <c:v>1.8411</c:v>
                </c:pt>
                <c:pt idx="1">
                  <c:v>2.1223999999999998</c:v>
                </c:pt>
                <c:pt idx="3">
                  <c:v>2.97829999999999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La Vache Qui Rit</c:v>
                </c:pt>
                <c:pt idx="8">
                  <c:v>Coeur De Lion</c:v>
                </c:pt>
              </c:strCache>
            </c:strRef>
          </c:cat>
          <c:val>
            <c:numRef>
              <c:f>Sheet1!$H$2:$H$10</c:f>
              <c:numCache>
                <c:formatCode>General</c:formatCode>
                <c:ptCount val="9"/>
                <c:pt idx="0">
                  <c:v>2.4459</c:v>
                </c:pt>
                <c:pt idx="2">
                  <c:v>3.2147000000000001</c:v>
                </c:pt>
                <c:pt idx="4">
                  <c:v>3.6261999999999999</c:v>
                </c:pt>
                <c:pt idx="5">
                  <c:v>3.703599999999999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La Vache Qui Rit</c:v>
                </c:pt>
                <c:pt idx="8">
                  <c:v>Coeur De Lion</c:v>
                </c:pt>
              </c:strCache>
            </c:strRef>
          </c:cat>
          <c:val>
            <c:numRef>
              <c:f>Sheet1!$I$2:$I$10</c:f>
              <c:numCache>
                <c:formatCode>General</c:formatCode>
                <c:ptCount val="9"/>
                <c:pt idx="0">
                  <c:v>2.2509000000000001</c:v>
                </c:pt>
                <c:pt idx="1">
                  <c:v>2.9394999999999998</c:v>
                </c:pt>
                <c:pt idx="8">
                  <c:v>2.822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La Vache Qui Rit</c:v>
                </c:pt>
                <c:pt idx="8">
                  <c:v>Coeur De Lion</c:v>
                </c:pt>
              </c:strCache>
            </c:strRef>
          </c:cat>
          <c:val>
            <c:numRef>
              <c:f>Sheet1!$J$2:$J$10</c:f>
              <c:numCache>
                <c:formatCode>General</c:formatCode>
                <c:ptCount val="9"/>
                <c:pt idx="0">
                  <c:v>3.1638000000000002</c:v>
                </c:pt>
                <c:pt idx="4">
                  <c:v>4.558200000000000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La Vache Qui Rit</c:v>
                </c:pt>
                <c:pt idx="8">
                  <c:v>Coeur De Lion</c:v>
                </c:pt>
              </c:strCache>
            </c:strRef>
          </c:cat>
          <c:val>
            <c:numRef>
              <c:f>Sheet1!$K$2:$K$10</c:f>
              <c:numCache>
                <c:formatCode>General</c:formatCode>
                <c:ptCount val="9"/>
                <c:pt idx="0">
                  <c:v>3.7755999999999998</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12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La Vache Qui Rit</c:v>
                </c:pt>
                <c:pt idx="8">
                  <c:v>Coeur De Lion</c:v>
                </c:pt>
              </c:strCache>
            </c:strRef>
          </c:cat>
          <c:val>
            <c:numRef>
              <c:f>Sheet1!$L$2:$L$10</c:f>
              <c:numCache>
                <c:formatCode>General</c:formatCode>
                <c:ptCount val="9"/>
                <c:pt idx="7">
                  <c:v>4.6340000000000003</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Apericube</c:v>
                </c:pt>
                <c:pt idx="1">
                  <c:v>Aperivrais</c:v>
                </c:pt>
                <c:pt idx="2">
                  <c:v>Boursin</c:v>
                </c:pt>
                <c:pt idx="3">
                  <c:v>Private Label</c:v>
                </c:pt>
                <c:pt idx="4">
                  <c:v>St Moret</c:v>
                </c:pt>
                <c:pt idx="5">
                  <c:v>All Others</c:v>
                </c:pt>
              </c:strCache>
            </c:strRef>
          </c:cat>
          <c:val>
            <c:numRef>
              <c:f>Sheet1!$B$2:$B$7</c:f>
              <c:numCache>
                <c:formatCode>General</c:formatCode>
                <c:ptCount val="6"/>
                <c:pt idx="1">
                  <c:v>2.0247000000000002</c:v>
                </c:pt>
                <c:pt idx="2">
                  <c:v>3.3784000000000001</c:v>
                </c:pt>
                <c:pt idx="3">
                  <c:v>2.8323</c:v>
                </c:pt>
                <c:pt idx="4">
                  <c:v>2.6101999999999999</c:v>
                </c:pt>
                <c:pt idx="5">
                  <c:v>5.345100000000000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Apericube</c:v>
                </c:pt>
                <c:pt idx="1">
                  <c:v>Aperivrais</c:v>
                </c:pt>
                <c:pt idx="2">
                  <c:v>Boursin</c:v>
                </c:pt>
                <c:pt idx="3">
                  <c:v>Private Label</c:v>
                </c:pt>
                <c:pt idx="4">
                  <c:v>St Moret</c:v>
                </c:pt>
                <c:pt idx="5">
                  <c:v>All Others</c:v>
                </c:pt>
              </c:strCache>
            </c:strRef>
          </c:cat>
          <c:val>
            <c:numRef>
              <c:f>Sheet1!$C$2:$C$7</c:f>
              <c:numCache>
                <c:formatCode>General</c:formatCode>
                <c:ptCount val="6"/>
                <c:pt idx="0">
                  <c:v>2.3715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Apericube</c:v>
                </c:pt>
                <c:pt idx="1">
                  <c:v>Aperivrais</c:v>
                </c:pt>
                <c:pt idx="2">
                  <c:v>Boursin</c:v>
                </c:pt>
                <c:pt idx="3">
                  <c:v>Private Label</c:v>
                </c:pt>
                <c:pt idx="4">
                  <c:v>St Moret</c:v>
                </c:pt>
                <c:pt idx="5">
                  <c:v>All Others</c:v>
                </c:pt>
              </c:strCache>
            </c:strRef>
          </c:cat>
          <c:val>
            <c:numRef>
              <c:f>Sheet1!$D$2:$D$7</c:f>
              <c:numCache>
                <c:formatCode>General</c:formatCode>
                <c:ptCount val="6"/>
                <c:pt idx="0">
                  <c:v>4.147000000000000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Apericube</c:v>
                </c:pt>
                <c:pt idx="1">
                  <c:v>Aperivrais</c:v>
                </c:pt>
                <c:pt idx="2">
                  <c:v>Boursin</c:v>
                </c:pt>
                <c:pt idx="3">
                  <c:v>Private Label</c:v>
                </c:pt>
                <c:pt idx="4">
                  <c:v>St Moret</c:v>
                </c:pt>
                <c:pt idx="5">
                  <c:v>All Others</c:v>
                </c:pt>
              </c:strCache>
            </c:strRef>
          </c:cat>
          <c:val>
            <c:numRef>
              <c:f>Sheet1!$B$2:$B$7</c:f>
              <c:numCache>
                <c:formatCode>General</c:formatCode>
                <c:ptCount val="6"/>
                <c:pt idx="1">
                  <c:v>2.1145</c:v>
                </c:pt>
                <c:pt idx="2">
                  <c:v>3.4693000000000001</c:v>
                </c:pt>
                <c:pt idx="3">
                  <c:v>3.0528</c:v>
                </c:pt>
                <c:pt idx="4">
                  <c:v>2.6516999999999999</c:v>
                </c:pt>
                <c:pt idx="5">
                  <c:v>5.701299999999999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Apericube</c:v>
                </c:pt>
                <c:pt idx="1">
                  <c:v>Aperivrais</c:v>
                </c:pt>
                <c:pt idx="2">
                  <c:v>Boursin</c:v>
                </c:pt>
                <c:pt idx="3">
                  <c:v>Private Label</c:v>
                </c:pt>
                <c:pt idx="4">
                  <c:v>St Moret</c:v>
                </c:pt>
                <c:pt idx="5">
                  <c:v>All Others</c:v>
                </c:pt>
              </c:strCache>
            </c:strRef>
          </c:cat>
          <c:val>
            <c:numRef>
              <c:f>Sheet1!$C$2:$C$7</c:f>
              <c:numCache>
                <c:formatCode>General</c:formatCode>
                <c:ptCount val="6"/>
                <c:pt idx="0">
                  <c:v>2.4519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Apericube</c:v>
                </c:pt>
                <c:pt idx="1">
                  <c:v>Aperivrais</c:v>
                </c:pt>
                <c:pt idx="2">
                  <c:v>Boursin</c:v>
                </c:pt>
                <c:pt idx="3">
                  <c:v>Private Label</c:v>
                </c:pt>
                <c:pt idx="4">
                  <c:v>St Moret</c:v>
                </c:pt>
                <c:pt idx="5">
                  <c:v>All Others</c:v>
                </c:pt>
              </c:strCache>
            </c:strRef>
          </c:cat>
          <c:val>
            <c:numRef>
              <c:f>Sheet1!$D$2:$D$7</c:f>
              <c:numCache>
                <c:formatCode>General</c:formatCode>
                <c:ptCount val="6"/>
                <c:pt idx="0">
                  <c:v>4.425200000000000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0FC1424-6651-4DA4-AB32-85747CCD20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33E893A-97E2-429C-B296-C90B4E794A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1F5B1AB-DB8A-4451-B75E-4B647E2A90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9C56D4D-1126-4826-8EBB-07A190BEE5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607C87F-78DA-4181-9DC2-C7E85BAD5A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9246A7A-9BAA-4F9A-8728-F23FF98989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E2C0485-8A3E-440E-B07C-238DC2DDD1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87F1803-6C01-49EC-8669-6CA7A661F1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2894999999999999</c:v>
                </c:pt>
                <c:pt idx="1">
                  <c:v>2.6318000000000001</c:v>
                </c:pt>
                <c:pt idx="2">
                  <c:v>3.3193999999999999</c:v>
                </c:pt>
                <c:pt idx="3">
                  <c:v>2.7353999999999998</c:v>
                </c:pt>
                <c:pt idx="4">
                  <c:v>2.9201000000000001</c:v>
                </c:pt>
                <c:pt idx="5">
                  <c:v>2.4331</c:v>
                </c:pt>
                <c:pt idx="6">
                  <c:v>3.6213000000000002</c:v>
                </c:pt>
                <c:pt idx="7">
                  <c:v>3.3361999999999998</c:v>
                </c:pt>
                <c:pt idx="8">
                  <c:v>6.7622</c:v>
                </c:pt>
              </c:numCache>
            </c:numRef>
          </c:xVal>
          <c:yVal>
            <c:numRef>
              <c:f>Sheet1!$B$2:$B$10</c:f>
              <c:numCache>
                <c:formatCode>General</c:formatCode>
                <c:ptCount val="9"/>
                <c:pt idx="0">
                  <c:v>0.85199999999999998</c:v>
                </c:pt>
                <c:pt idx="1">
                  <c:v>0.93500000000000005</c:v>
                </c:pt>
                <c:pt idx="2">
                  <c:v>1.323</c:v>
                </c:pt>
                <c:pt idx="3">
                  <c:v>1.1140000000000001</c:v>
                </c:pt>
                <c:pt idx="4">
                  <c:v>1.1599999999999999</c:v>
                </c:pt>
                <c:pt idx="5">
                  <c:v>1.1619999999999999</c:v>
                </c:pt>
                <c:pt idx="6">
                  <c:v>1.1240000000000001</c:v>
                </c:pt>
                <c:pt idx="7">
                  <c:v>1.2050000000000001</c:v>
                </c:pt>
                <c:pt idx="8">
                  <c:v>1.2290000000000001</c:v>
                </c:pt>
              </c:numCache>
            </c:numRef>
          </c:yVal>
          <c:bubbleSize>
            <c:numRef>
              <c:f>Sheet1!$C$2:$C$10</c:f>
              <c:numCache>
                <c:formatCode>General</c:formatCode>
                <c:ptCount val="9"/>
                <c:pt idx="0">
                  <c:v>635650528</c:v>
                </c:pt>
                <c:pt idx="1">
                  <c:v>107531355</c:v>
                </c:pt>
                <c:pt idx="2">
                  <c:v>66381257</c:v>
                </c:pt>
                <c:pt idx="3">
                  <c:v>36240606</c:v>
                </c:pt>
                <c:pt idx="4">
                  <c:v>32921870</c:v>
                </c:pt>
                <c:pt idx="5">
                  <c:v>32835015</c:v>
                </c:pt>
                <c:pt idx="6">
                  <c:v>29954044</c:v>
                </c:pt>
                <c:pt idx="7">
                  <c:v>29411346</c:v>
                </c:pt>
                <c:pt idx="8">
                  <c:v>26031266</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Entremont</c:v>
                  </c:pt>
                  <c:pt idx="3">
                    <c:v>Soignon</c:v>
                  </c:pt>
                  <c:pt idx="4">
                    <c:v>St Moret</c:v>
                  </c:pt>
                  <c:pt idx="5">
                    <c:v>Galbani</c:v>
                  </c:pt>
                  <c:pt idx="6">
                    <c:v>Leerdammer</c:v>
                  </c:pt>
                  <c:pt idx="7">
                    <c:v>Caprice Des Dieux</c:v>
                  </c:pt>
                  <c:pt idx="8">
                    <c:v>Richesmont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2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Apericube</c:v>
                </c:pt>
                <c:pt idx="1">
                  <c:v>Aperivrais</c:v>
                </c:pt>
                <c:pt idx="2">
                  <c:v>Boursin</c:v>
                </c:pt>
                <c:pt idx="3">
                  <c:v>St Moret</c:v>
                </c:pt>
                <c:pt idx="4">
                  <c:v>Private Label</c:v>
                </c:pt>
                <c:pt idx="5">
                  <c:v>Entremont</c:v>
                </c:pt>
              </c:strCache>
            </c:strRef>
          </c:cat>
          <c:val>
            <c:numRef>
              <c:f>Sheet1!$B$2:$B$7</c:f>
              <c:numCache>
                <c:formatCode>General</c:formatCode>
                <c:ptCount val="6"/>
                <c:pt idx="1">
                  <c:v>2.1533000000000002</c:v>
                </c:pt>
                <c:pt idx="2">
                  <c:v>3.3626999999999998</c:v>
                </c:pt>
                <c:pt idx="3">
                  <c:v>2.6185</c:v>
                </c:pt>
                <c:pt idx="4">
                  <c:v>2.7747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Apericube</c:v>
                </c:pt>
                <c:pt idx="1">
                  <c:v>Aperivrais</c:v>
                </c:pt>
                <c:pt idx="2">
                  <c:v>Boursin</c:v>
                </c:pt>
                <c:pt idx="3">
                  <c:v>St Moret</c:v>
                </c:pt>
                <c:pt idx="4">
                  <c:v>Private Label</c:v>
                </c:pt>
                <c:pt idx="5">
                  <c:v>Entremont</c:v>
                </c:pt>
              </c:strCache>
            </c:strRef>
          </c:cat>
          <c:val>
            <c:numRef>
              <c:f>Sheet1!$C$2:$C$7</c:f>
              <c:numCache>
                <c:formatCode>General</c:formatCode>
                <c:ptCount val="6"/>
                <c:pt idx="0">
                  <c:v>2.311999999999999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Apericube</c:v>
                </c:pt>
                <c:pt idx="1">
                  <c:v>Aperivrais</c:v>
                </c:pt>
                <c:pt idx="2">
                  <c:v>Boursin</c:v>
                </c:pt>
                <c:pt idx="3">
                  <c:v>St Moret</c:v>
                </c:pt>
                <c:pt idx="4">
                  <c:v>Private Label</c:v>
                </c:pt>
                <c:pt idx="5">
                  <c:v>Entremont</c:v>
                </c:pt>
              </c:strCache>
            </c:strRef>
          </c:cat>
          <c:val>
            <c:numRef>
              <c:f>Sheet1!$D$2:$D$7</c:f>
              <c:numCache>
                <c:formatCode>General</c:formatCode>
                <c:ptCount val="6"/>
                <c:pt idx="5">
                  <c:v>2.825200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Apericube</c:v>
                </c:pt>
                <c:pt idx="1">
                  <c:v>Aperivrais</c:v>
                </c:pt>
                <c:pt idx="2">
                  <c:v>Boursin</c:v>
                </c:pt>
                <c:pt idx="3">
                  <c:v>St Moret</c:v>
                </c:pt>
                <c:pt idx="4">
                  <c:v>Private Label</c:v>
                </c:pt>
                <c:pt idx="5">
                  <c:v>Entremont</c:v>
                </c:pt>
              </c:strCache>
            </c:strRef>
          </c:cat>
          <c:val>
            <c:numRef>
              <c:f>Sheet1!$E$2:$E$7</c:f>
              <c:numCache>
                <c:formatCode>General</c:formatCode>
                <c:ptCount val="6"/>
                <c:pt idx="4">
                  <c:v>2.23579999999999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5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Apericube</c:v>
                </c:pt>
                <c:pt idx="1">
                  <c:v>Aperivrais</c:v>
                </c:pt>
                <c:pt idx="2">
                  <c:v>Boursin</c:v>
                </c:pt>
                <c:pt idx="3">
                  <c:v>St Moret</c:v>
                </c:pt>
                <c:pt idx="4">
                  <c:v>Private Label</c:v>
                </c:pt>
                <c:pt idx="5">
                  <c:v>Entremont</c:v>
                </c:pt>
              </c:strCache>
            </c:strRef>
          </c:cat>
          <c:val>
            <c:numRef>
              <c:f>Sheet1!$F$2:$F$7</c:f>
              <c:numCache>
                <c:formatCode>General</c:formatCode>
                <c:ptCount val="6"/>
                <c:pt idx="0">
                  <c:v>4.2359</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Private Label</c:v>
                </c:pt>
                <c:pt idx="1">
                  <c:v>President</c:v>
                </c:pt>
                <c:pt idx="2">
                  <c:v>La Belle Etoile</c:v>
                </c:pt>
                <c:pt idx="3">
                  <c:v>La Vache Qui Rit</c:v>
                </c:pt>
                <c:pt idx="4">
                  <c:v>All Others</c:v>
                </c:pt>
                <c:pt idx="5">
                  <c:v>Boursin</c:v>
                </c:pt>
              </c:strCache>
            </c:strRef>
          </c:cat>
          <c:val>
            <c:numRef>
              <c:f>Sheet1!$B$2:$B$7</c:f>
              <c:numCache>
                <c:formatCode>General</c:formatCode>
                <c:ptCount val="6"/>
                <c:pt idx="0">
                  <c:v>1.2976000000000001</c:v>
                </c:pt>
                <c:pt idx="1">
                  <c:v>1.7034</c:v>
                </c:pt>
                <c:pt idx="3">
                  <c:v>1.7914000000000001</c:v>
                </c:pt>
                <c:pt idx="4">
                  <c:v>2.6181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4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rivate Label</c:v>
                </c:pt>
                <c:pt idx="1">
                  <c:v>President</c:v>
                </c:pt>
                <c:pt idx="2">
                  <c:v>La Belle Etoile</c:v>
                </c:pt>
                <c:pt idx="3">
                  <c:v>La Vache Qui Rit</c:v>
                </c:pt>
                <c:pt idx="4">
                  <c:v>All Others</c:v>
                </c:pt>
                <c:pt idx="5">
                  <c:v>Boursin</c:v>
                </c:pt>
              </c:strCache>
            </c:strRef>
          </c:cat>
          <c:val>
            <c:numRef>
              <c:f>Sheet1!$C$2:$C$7</c:f>
              <c:numCache>
                <c:formatCode>General</c:formatCode>
                <c:ptCount val="6"/>
                <c:pt idx="5">
                  <c:v>2.5470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rivate Label</c:v>
                </c:pt>
                <c:pt idx="1">
                  <c:v>President</c:v>
                </c:pt>
                <c:pt idx="2">
                  <c:v>La Belle Etoile</c:v>
                </c:pt>
                <c:pt idx="3">
                  <c:v>La Vache Qui Rit</c:v>
                </c:pt>
                <c:pt idx="4">
                  <c:v>All Others</c:v>
                </c:pt>
                <c:pt idx="5">
                  <c:v>Boursin</c:v>
                </c:pt>
              </c:strCache>
            </c:strRef>
          </c:cat>
          <c:val>
            <c:numRef>
              <c:f>Sheet1!$D$2:$D$7</c:f>
              <c:numCache>
                <c:formatCode>General</c:formatCode>
                <c:ptCount val="6"/>
                <c:pt idx="0">
                  <c:v>2.0289000000000001</c:v>
                </c:pt>
                <c:pt idx="2">
                  <c:v>2.875300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0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rivate Label</c:v>
                </c:pt>
                <c:pt idx="1">
                  <c:v>President</c:v>
                </c:pt>
                <c:pt idx="2">
                  <c:v>La Belle Etoile</c:v>
                </c:pt>
                <c:pt idx="3">
                  <c:v>La Vache Qui Rit</c:v>
                </c:pt>
                <c:pt idx="4">
                  <c:v>All Others</c:v>
                </c:pt>
                <c:pt idx="5">
                  <c:v>Boursin</c:v>
                </c:pt>
              </c:strCache>
            </c:strRef>
          </c:cat>
          <c:val>
            <c:numRef>
              <c:f>Sheet1!$E$2:$E$7</c:f>
              <c:numCache>
                <c:formatCode>General</c:formatCode>
                <c:ptCount val="6"/>
                <c:pt idx="0">
                  <c:v>1.922900000000000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4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rivate Label</c:v>
                </c:pt>
                <c:pt idx="1">
                  <c:v>President</c:v>
                </c:pt>
                <c:pt idx="2">
                  <c:v>La Belle Etoile</c:v>
                </c:pt>
                <c:pt idx="3">
                  <c:v>La Vache Qui Rit</c:v>
                </c:pt>
                <c:pt idx="4">
                  <c:v>All Others</c:v>
                </c:pt>
                <c:pt idx="5">
                  <c:v>Boursin</c:v>
                </c:pt>
              </c:strCache>
            </c:strRef>
          </c:cat>
          <c:val>
            <c:numRef>
              <c:f>Sheet1!$F$2:$F$7</c:f>
              <c:numCache>
                <c:formatCode>General</c:formatCode>
                <c:ptCount val="6"/>
                <c:pt idx="0">
                  <c:v>2.0817999999999999</c:v>
                </c:pt>
                <c:pt idx="1">
                  <c:v>2.823900000000000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Private Label</c:v>
                </c:pt>
                <c:pt idx="1">
                  <c:v>President</c:v>
                </c:pt>
                <c:pt idx="2">
                  <c:v>La Belle Etoile</c:v>
                </c:pt>
                <c:pt idx="3">
                  <c:v>La Vache Qui Rit</c:v>
                </c:pt>
                <c:pt idx="4">
                  <c:v>All Others</c:v>
                </c:pt>
                <c:pt idx="5">
                  <c:v>Boursin</c:v>
                </c:pt>
              </c:strCache>
            </c:strRef>
          </c:cat>
          <c:val>
            <c:numRef>
              <c:f>Sheet1!$G$2:$G$7</c:f>
              <c:numCache>
                <c:formatCode>General</c:formatCode>
                <c:ptCount val="6"/>
                <c:pt idx="2">
                  <c:v>5.2194000000000003</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Private Label</c:v>
                </c:pt>
                <c:pt idx="1">
                  <c:v>President</c:v>
                </c:pt>
                <c:pt idx="2">
                  <c:v>La Vache Qui Rit</c:v>
                </c:pt>
                <c:pt idx="3">
                  <c:v>La Belle Etoile</c:v>
                </c:pt>
                <c:pt idx="4">
                  <c:v>All Others</c:v>
                </c:pt>
                <c:pt idx="5">
                  <c:v>Boursin</c:v>
                </c:pt>
              </c:strCache>
            </c:strRef>
          </c:cat>
          <c:val>
            <c:numRef>
              <c:f>Sheet1!$B$2:$B$7</c:f>
              <c:numCache>
                <c:formatCode>General</c:formatCode>
                <c:ptCount val="6"/>
                <c:pt idx="0">
                  <c:v>1.3932</c:v>
                </c:pt>
                <c:pt idx="1">
                  <c:v>1.8547</c:v>
                </c:pt>
                <c:pt idx="2">
                  <c:v>1.7629999999999999</c:v>
                </c:pt>
                <c:pt idx="4">
                  <c:v>2.8957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4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rivate Label</c:v>
                </c:pt>
                <c:pt idx="1">
                  <c:v>President</c:v>
                </c:pt>
                <c:pt idx="2">
                  <c:v>La Vache Qui Rit</c:v>
                </c:pt>
                <c:pt idx="3">
                  <c:v>La Belle Etoile</c:v>
                </c:pt>
                <c:pt idx="4">
                  <c:v>All Others</c:v>
                </c:pt>
                <c:pt idx="5">
                  <c:v>Boursin</c:v>
                </c:pt>
              </c:strCache>
            </c:strRef>
          </c:cat>
          <c:val>
            <c:numRef>
              <c:f>Sheet1!$C$2:$C$7</c:f>
              <c:numCache>
                <c:formatCode>General</c:formatCode>
                <c:ptCount val="6"/>
                <c:pt idx="5">
                  <c:v>2.6623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rivate Label</c:v>
                </c:pt>
                <c:pt idx="1">
                  <c:v>President</c:v>
                </c:pt>
                <c:pt idx="2">
                  <c:v>La Vache Qui Rit</c:v>
                </c:pt>
                <c:pt idx="3">
                  <c:v>La Belle Etoile</c:v>
                </c:pt>
                <c:pt idx="4">
                  <c:v>All Others</c:v>
                </c:pt>
                <c:pt idx="5">
                  <c:v>Boursin</c:v>
                </c:pt>
              </c:strCache>
            </c:strRef>
          </c:cat>
          <c:val>
            <c:numRef>
              <c:f>Sheet1!$D$2:$D$7</c:f>
              <c:numCache>
                <c:formatCode>General</c:formatCode>
                <c:ptCount val="6"/>
                <c:pt idx="0">
                  <c:v>2.0861000000000001</c:v>
                </c:pt>
                <c:pt idx="3">
                  <c:v>2.97250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0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rivate Label</c:v>
                </c:pt>
                <c:pt idx="1">
                  <c:v>President</c:v>
                </c:pt>
                <c:pt idx="2">
                  <c:v>La Vache Qui Rit</c:v>
                </c:pt>
                <c:pt idx="3">
                  <c:v>La Belle Etoile</c:v>
                </c:pt>
                <c:pt idx="4">
                  <c:v>All Others</c:v>
                </c:pt>
                <c:pt idx="5">
                  <c:v>Boursin</c:v>
                </c:pt>
              </c:strCache>
            </c:strRef>
          </c:cat>
          <c:val>
            <c:numRef>
              <c:f>Sheet1!$E$2:$E$7</c:f>
              <c:numCache>
                <c:formatCode>General</c:formatCode>
                <c:ptCount val="6"/>
                <c:pt idx="0">
                  <c:v>1.782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4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rivate Label</c:v>
                </c:pt>
                <c:pt idx="1">
                  <c:v>President</c:v>
                </c:pt>
                <c:pt idx="2">
                  <c:v>La Vache Qui Rit</c:v>
                </c:pt>
                <c:pt idx="3">
                  <c:v>La Belle Etoile</c:v>
                </c:pt>
                <c:pt idx="4">
                  <c:v>All Others</c:v>
                </c:pt>
                <c:pt idx="5">
                  <c:v>Boursin</c:v>
                </c:pt>
              </c:strCache>
            </c:strRef>
          </c:cat>
          <c:val>
            <c:numRef>
              <c:f>Sheet1!$F$2:$F$7</c:f>
              <c:numCache>
                <c:formatCode>General</c:formatCode>
                <c:ptCount val="6"/>
                <c:pt idx="0">
                  <c:v>2.0076999999999998</c:v>
                </c:pt>
                <c:pt idx="1">
                  <c:v>2.792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Private Label</c:v>
                </c:pt>
                <c:pt idx="1">
                  <c:v>President</c:v>
                </c:pt>
                <c:pt idx="2">
                  <c:v>La Vache Qui Rit</c:v>
                </c:pt>
                <c:pt idx="3">
                  <c:v>La Belle Etoile</c:v>
                </c:pt>
                <c:pt idx="4">
                  <c:v>All Others</c:v>
                </c:pt>
                <c:pt idx="5">
                  <c:v>Boursin</c:v>
                </c:pt>
              </c:strCache>
            </c:strRef>
          </c:cat>
          <c:val>
            <c:numRef>
              <c:f>Sheet1!$G$2:$G$7</c:f>
              <c:numCache>
                <c:formatCode>General</c:formatCode>
                <c:ptCount val="6"/>
                <c:pt idx="3">
                  <c:v>5.4532999999999996</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Private Label</c:v>
                </c:pt>
                <c:pt idx="1">
                  <c:v>President</c:v>
                </c:pt>
                <c:pt idx="2">
                  <c:v>La Belle Etoile</c:v>
                </c:pt>
                <c:pt idx="3">
                  <c:v>Raguin</c:v>
                </c:pt>
                <c:pt idx="4">
                  <c:v>Boursin</c:v>
                </c:pt>
                <c:pt idx="5">
                  <c:v>Milleret: All Others</c:v>
                </c:pt>
              </c:strCache>
            </c:strRef>
          </c:cat>
          <c:val>
            <c:numRef>
              <c:f>Sheet1!$B$2:$B$7</c:f>
              <c:numCache>
                <c:formatCode>General</c:formatCode>
                <c:ptCount val="6"/>
                <c:pt idx="0">
                  <c:v>1.2566999999999999</c:v>
                </c:pt>
                <c:pt idx="1">
                  <c:v>1.602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4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rivate Label</c:v>
                </c:pt>
                <c:pt idx="1">
                  <c:v>President</c:v>
                </c:pt>
                <c:pt idx="2">
                  <c:v>La Belle Etoile</c:v>
                </c:pt>
                <c:pt idx="3">
                  <c:v>Raguin</c:v>
                </c:pt>
                <c:pt idx="4">
                  <c:v>Boursin</c:v>
                </c:pt>
                <c:pt idx="5">
                  <c:v>Milleret: All Others</c:v>
                </c:pt>
              </c:strCache>
            </c:strRef>
          </c:cat>
          <c:val>
            <c:numRef>
              <c:f>Sheet1!$C$2:$C$7</c:f>
              <c:numCache>
                <c:formatCode>General</c:formatCode>
                <c:ptCount val="6"/>
                <c:pt idx="4">
                  <c:v>2.64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rivate Label</c:v>
                </c:pt>
                <c:pt idx="1">
                  <c:v>President</c:v>
                </c:pt>
                <c:pt idx="2">
                  <c:v>La Belle Etoile</c:v>
                </c:pt>
                <c:pt idx="3">
                  <c:v>Raguin</c:v>
                </c:pt>
                <c:pt idx="4">
                  <c:v>Boursin</c:v>
                </c:pt>
                <c:pt idx="5">
                  <c:v>Milleret: All Others</c:v>
                </c:pt>
              </c:strCache>
            </c:strRef>
          </c:cat>
          <c:val>
            <c:numRef>
              <c:f>Sheet1!$D$2:$D$7</c:f>
              <c:numCache>
                <c:formatCode>General</c:formatCode>
                <c:ptCount val="6"/>
                <c:pt idx="0">
                  <c:v>2.0478999999999998</c:v>
                </c:pt>
                <c:pt idx="1">
                  <c:v>3.0341999999999998</c:v>
                </c:pt>
                <c:pt idx="2">
                  <c:v>3.0247000000000002</c:v>
                </c:pt>
                <c:pt idx="3">
                  <c:v>2.7126000000000001</c:v>
                </c:pt>
                <c:pt idx="5">
                  <c:v>2.613500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4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rivate Label</c:v>
                </c:pt>
                <c:pt idx="1">
                  <c:v>President</c:v>
                </c:pt>
                <c:pt idx="2">
                  <c:v>La Belle Etoile</c:v>
                </c:pt>
                <c:pt idx="3">
                  <c:v>Raguin</c:v>
                </c:pt>
                <c:pt idx="4">
                  <c:v>Boursin</c:v>
                </c:pt>
                <c:pt idx="5">
                  <c:v>Milleret: All Others</c:v>
                </c:pt>
              </c:strCache>
            </c:strRef>
          </c:cat>
          <c:val>
            <c:numRef>
              <c:f>Sheet1!$E$2:$E$7</c:f>
              <c:numCache>
                <c:formatCode>General</c:formatCode>
                <c:ptCount val="6"/>
                <c:pt idx="0">
                  <c:v>2.0687000000000002</c:v>
                </c:pt>
                <c:pt idx="1">
                  <c:v>2.853800000000000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rivate Label</c:v>
                </c:pt>
                <c:pt idx="1">
                  <c:v>President</c:v>
                </c:pt>
                <c:pt idx="2">
                  <c:v>La Belle Etoile</c:v>
                </c:pt>
                <c:pt idx="3">
                  <c:v>Raguin</c:v>
                </c:pt>
                <c:pt idx="4">
                  <c:v>Boursin</c:v>
                </c:pt>
                <c:pt idx="5">
                  <c:v>Milleret: All Others</c:v>
                </c:pt>
              </c:strCache>
            </c:strRef>
          </c:cat>
          <c:val>
            <c:numRef>
              <c:f>Sheet1!$F$2:$F$7</c:f>
              <c:numCache>
                <c:formatCode>General</c:formatCode>
                <c:ptCount val="6"/>
                <c:pt idx="2">
                  <c:v>5.2453000000000003</c:v>
                </c:pt>
                <c:pt idx="3">
                  <c:v>5.1691000000000003</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8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La Vache Qui Rit</c:v>
                </c:pt>
                <c:pt idx="1">
                  <c:v>Mini Babybel</c:v>
                </c:pt>
                <c:pt idx="2">
                  <c:v>Kiri</c:v>
                </c:pt>
                <c:pt idx="3">
                  <c:v>Private Label</c:v>
                </c:pt>
                <c:pt idx="4">
                  <c:v>Ficello</c:v>
                </c:pt>
              </c:strCache>
            </c:strRef>
          </c:cat>
          <c:val>
            <c:numRef>
              <c:f>Sheet1!$B$2:$B$6</c:f>
              <c:numCache>
                <c:formatCode>General</c:formatCode>
                <c:ptCount val="5"/>
                <c:pt idx="0">
                  <c:v>2.03710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2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Vache Qui Rit</c:v>
                </c:pt>
                <c:pt idx="1">
                  <c:v>Mini Babybel</c:v>
                </c:pt>
                <c:pt idx="2">
                  <c:v>Kiri</c:v>
                </c:pt>
                <c:pt idx="3">
                  <c:v>Private Label</c:v>
                </c:pt>
                <c:pt idx="4">
                  <c:v>Ficello</c:v>
                </c:pt>
              </c:strCache>
            </c:strRef>
          </c:cat>
          <c:val>
            <c:numRef>
              <c:f>Sheet1!$C$2:$C$6</c:f>
              <c:numCache>
                <c:formatCode>General</c:formatCode>
                <c:ptCount val="5"/>
                <c:pt idx="1">
                  <c:v>2.4822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44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Vache Qui Rit</c:v>
                </c:pt>
                <c:pt idx="1">
                  <c:v>Mini Babybel</c:v>
                </c:pt>
                <c:pt idx="2">
                  <c:v>Kiri</c:v>
                </c:pt>
                <c:pt idx="3">
                  <c:v>Private Label</c:v>
                </c:pt>
                <c:pt idx="4">
                  <c:v>Ficello</c:v>
                </c:pt>
              </c:strCache>
            </c:strRef>
          </c:cat>
          <c:val>
            <c:numRef>
              <c:f>Sheet1!$D$2:$D$6</c:f>
              <c:numCache>
                <c:formatCode>General</c:formatCode>
                <c:ptCount val="5"/>
                <c:pt idx="2">
                  <c:v>2.316800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8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Vache Qui Rit</c:v>
                </c:pt>
                <c:pt idx="1">
                  <c:v>Mini Babybel</c:v>
                </c:pt>
                <c:pt idx="2">
                  <c:v>Kiri</c:v>
                </c:pt>
                <c:pt idx="3">
                  <c:v>Private Label</c:v>
                </c:pt>
                <c:pt idx="4">
                  <c:v>Ficello</c:v>
                </c:pt>
              </c:strCache>
            </c:strRef>
          </c:cat>
          <c:val>
            <c:numRef>
              <c:f>Sheet1!$E$2:$E$6</c:f>
              <c:numCache>
                <c:formatCode>General</c:formatCode>
                <c:ptCount val="5"/>
                <c:pt idx="4">
                  <c:v>3.490699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75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Vache Qui Rit</c:v>
                </c:pt>
                <c:pt idx="1">
                  <c:v>Mini Babybel</c:v>
                </c:pt>
                <c:pt idx="2">
                  <c:v>Kiri</c:v>
                </c:pt>
                <c:pt idx="3">
                  <c:v>Private Label</c:v>
                </c:pt>
                <c:pt idx="4">
                  <c:v>Ficello</c:v>
                </c:pt>
              </c:strCache>
            </c:strRef>
          </c:cat>
          <c:val>
            <c:numRef>
              <c:f>Sheet1!$F$2:$F$6</c:f>
              <c:numCache>
                <c:formatCode>General</c:formatCode>
                <c:ptCount val="5"/>
                <c:pt idx="0">
                  <c:v>2.3717000000000001</c:v>
                </c:pt>
                <c:pt idx="2">
                  <c:v>2.331500000000000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La Vache Qui Rit</c:v>
                </c:pt>
                <c:pt idx="1">
                  <c:v>Mini Babybel</c:v>
                </c:pt>
                <c:pt idx="2">
                  <c:v>Kiri</c:v>
                </c:pt>
                <c:pt idx="3">
                  <c:v>Private Label</c:v>
                </c:pt>
                <c:pt idx="4">
                  <c:v>Ficello</c:v>
                </c:pt>
              </c:strCache>
            </c:strRef>
          </c:cat>
          <c:val>
            <c:numRef>
              <c:f>Sheet1!$G$2:$G$6</c:f>
              <c:numCache>
                <c:formatCode>General</c:formatCode>
                <c:ptCount val="5"/>
                <c:pt idx="1">
                  <c:v>3.28679999999999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2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La Vache Qui Rit</c:v>
                </c:pt>
                <c:pt idx="1">
                  <c:v>Mini Babybel</c:v>
                </c:pt>
                <c:pt idx="2">
                  <c:v>Kiri</c:v>
                </c:pt>
                <c:pt idx="3">
                  <c:v>Private Label</c:v>
                </c:pt>
                <c:pt idx="4">
                  <c:v>Ficello</c:v>
                </c:pt>
              </c:strCache>
            </c:strRef>
          </c:cat>
          <c:val>
            <c:numRef>
              <c:f>Sheet1!$H$2:$H$6</c:f>
              <c:numCache>
                <c:formatCode>General</c:formatCode>
                <c:ptCount val="5"/>
                <c:pt idx="0">
                  <c:v>2.613500000000000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16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Vache Qui Rit</c:v>
                </c:pt>
                <c:pt idx="1">
                  <c:v>Mini Babybel</c:v>
                </c:pt>
                <c:pt idx="2">
                  <c:v>Kiri</c:v>
                </c:pt>
                <c:pt idx="3">
                  <c:v>Private Label</c:v>
                </c:pt>
                <c:pt idx="4">
                  <c:v>Ficello</c:v>
                </c:pt>
              </c:strCache>
            </c:strRef>
          </c:cat>
          <c:val>
            <c:numRef>
              <c:f>Sheet1!$I$2:$I$6</c:f>
              <c:numCache>
                <c:formatCode>General</c:formatCode>
                <c:ptCount val="5"/>
                <c:pt idx="2">
                  <c:v>2.8616999999999999</c:v>
                </c:pt>
                <c:pt idx="3">
                  <c:v>1.869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La Vache Qui Rit</c:v>
                </c:pt>
                <c:pt idx="1">
                  <c:v>Mini Babybel</c:v>
                </c:pt>
                <c:pt idx="2">
                  <c:v>Kiri</c:v>
                </c:pt>
                <c:pt idx="3">
                  <c:v>Private Label</c:v>
                </c:pt>
                <c:pt idx="4">
                  <c:v>Ficello</c:v>
                </c:pt>
              </c:strCache>
            </c:strRef>
          </c:cat>
          <c:val>
            <c:numRef>
              <c:f>Sheet1!$J$2:$J$6</c:f>
              <c:numCache>
                <c:formatCode>General</c:formatCode>
                <c:ptCount val="5"/>
                <c:pt idx="1">
                  <c:v>4.025599999999999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Vache Qui Rit</c:v>
                </c:pt>
                <c:pt idx="1">
                  <c:v>Mini Babybel</c:v>
                </c:pt>
                <c:pt idx="2">
                  <c:v>Kiri</c:v>
                </c:pt>
                <c:pt idx="3">
                  <c:v>Private Label</c:v>
                </c:pt>
                <c:pt idx="4">
                  <c:v>Ficello</c:v>
                </c:pt>
              </c:strCache>
            </c:strRef>
          </c:cat>
          <c:val>
            <c:numRef>
              <c:f>Sheet1!$K$2:$K$6</c:f>
              <c:numCache>
                <c:formatCode>General</c:formatCode>
                <c:ptCount val="5"/>
                <c:pt idx="3">
                  <c:v>2.0017999999999998</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6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Vache Qui Rit</c:v>
                </c:pt>
                <c:pt idx="1">
                  <c:v>Mini Babybel</c:v>
                </c:pt>
                <c:pt idx="2">
                  <c:v>Kiri</c:v>
                </c:pt>
                <c:pt idx="3">
                  <c:v>Private Label</c:v>
                </c:pt>
                <c:pt idx="4">
                  <c:v>Ficello</c:v>
                </c:pt>
              </c:strCache>
            </c:strRef>
          </c:cat>
          <c:val>
            <c:numRef>
              <c:f>Sheet1!$L$2:$L$6</c:f>
              <c:numCache>
                <c:formatCode>General</c:formatCode>
                <c:ptCount val="5"/>
                <c:pt idx="0">
                  <c:v>2.934200000000000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64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La Vache Qui Rit</c:v>
                </c:pt>
                <c:pt idx="1">
                  <c:v>Mini Babybel</c:v>
                </c:pt>
                <c:pt idx="2">
                  <c:v>Kiri</c:v>
                </c:pt>
                <c:pt idx="3">
                  <c:v>Private Label</c:v>
                </c:pt>
                <c:pt idx="4">
                  <c:v>Ficello</c:v>
                </c:pt>
              </c:strCache>
            </c:strRef>
          </c:cat>
          <c:val>
            <c:numRef>
              <c:f>Sheet1!$M$2:$M$6</c:f>
              <c:numCache>
                <c:formatCode>General</c:formatCode>
                <c:ptCount val="5"/>
                <c:pt idx="1">
                  <c:v>4.1581999999999999</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80GR</c:v>
                </c:pt>
              </c:strCache>
            </c:strRef>
          </c:tx>
          <c:spPr>
            <a:ln w="19050">
              <a:noFill/>
            </a:ln>
          </c:spPr>
          <c:marker>
            <c:symbol val="dash"/>
            <c:size val="20"/>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Vache Qui Rit</c:v>
                </c:pt>
                <c:pt idx="1">
                  <c:v>Mini Babybel</c:v>
                </c:pt>
                <c:pt idx="2">
                  <c:v>Kiri</c:v>
                </c:pt>
                <c:pt idx="3">
                  <c:v>Private Label</c:v>
                </c:pt>
                <c:pt idx="4">
                  <c:v>Ficello</c:v>
                </c:pt>
              </c:strCache>
            </c:strRef>
          </c:cat>
          <c:val>
            <c:numRef>
              <c:f>Sheet1!$N$2:$N$6</c:f>
              <c:numCache>
                <c:formatCode>General</c:formatCode>
                <c:ptCount val="5"/>
                <c:pt idx="2">
                  <c:v>3.5573000000000001</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Vache Qui Rit</c:v>
                </c:pt>
                <c:pt idx="1">
                  <c:v>Mini Babybel</c:v>
                </c:pt>
                <c:pt idx="2">
                  <c:v>Kiri</c:v>
                </c:pt>
                <c:pt idx="3">
                  <c:v>Private Label</c:v>
                </c:pt>
                <c:pt idx="4">
                  <c:v>Ficello</c:v>
                </c:pt>
              </c:strCache>
            </c:strRef>
          </c:cat>
          <c:val>
            <c:numRef>
              <c:f>Sheet1!$O$2:$O$6</c:f>
              <c:numCache>
                <c:formatCode>General</c:formatCode>
                <c:ptCount val="5"/>
                <c:pt idx="0">
                  <c:v>3.7564000000000002</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Vache Qui Rit</c:v>
                </c:pt>
                <c:pt idx="1">
                  <c:v>Mini Babybel</c:v>
                </c:pt>
                <c:pt idx="2">
                  <c:v>Kiri</c:v>
                </c:pt>
                <c:pt idx="3">
                  <c:v>Private Label</c:v>
                </c:pt>
                <c:pt idx="4">
                  <c:v>Ficello</c:v>
                </c:pt>
              </c:strCache>
            </c:strRef>
          </c:cat>
          <c:val>
            <c:numRef>
              <c:f>Sheet1!$P$2:$P$6</c:f>
              <c:numCache>
                <c:formatCode>General</c:formatCode>
                <c:ptCount val="5"/>
                <c:pt idx="3">
                  <c:v>2.5588000000000002</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Vache Qui Rit</c:v>
                </c:pt>
                <c:pt idx="1">
                  <c:v>Mini Babybel</c:v>
                </c:pt>
                <c:pt idx="2">
                  <c:v>Kiri</c:v>
                </c:pt>
                <c:pt idx="3">
                  <c:v>Private Label</c:v>
                </c:pt>
                <c:pt idx="4">
                  <c:v>Ficello</c:v>
                </c:pt>
              </c:strCache>
            </c:strRef>
          </c:cat>
          <c:val>
            <c:numRef>
              <c:f>Sheet1!$Q$2:$Q$6</c:f>
              <c:numCache>
                <c:formatCode>General</c:formatCode>
                <c:ptCount val="5"/>
                <c:pt idx="2">
                  <c:v>4.6334</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4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Vache Qui Rit</c:v>
                </c:pt>
                <c:pt idx="1">
                  <c:v>Mini Babybel</c:v>
                </c:pt>
                <c:pt idx="2">
                  <c:v>Kiri</c:v>
                </c:pt>
                <c:pt idx="3">
                  <c:v>Private Label</c:v>
                </c:pt>
                <c:pt idx="4">
                  <c:v>Ficello</c:v>
                </c:pt>
              </c:strCache>
            </c:strRef>
          </c:cat>
          <c:val>
            <c:numRef>
              <c:f>Sheet1!$R$2:$R$6</c:f>
              <c:numCache>
                <c:formatCode>General</c:formatCode>
                <c:ptCount val="5"/>
                <c:pt idx="1">
                  <c:v>5.8459000000000003</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Vache Qui Rit</c:v>
                </c:pt>
                <c:pt idx="1">
                  <c:v>Mini Babybel</c:v>
                </c:pt>
                <c:pt idx="2">
                  <c:v>Kiri</c:v>
                </c:pt>
                <c:pt idx="3">
                  <c:v>Private Label</c:v>
                </c:pt>
                <c:pt idx="4">
                  <c:v>Ficello</c:v>
                </c:pt>
              </c:strCache>
            </c:strRef>
          </c:cat>
          <c:val>
            <c:numRef>
              <c:f>Sheet1!$S$2:$S$6</c:f>
              <c:numCache>
                <c:formatCode>General</c:formatCode>
                <c:ptCount val="5"/>
                <c:pt idx="0">
                  <c:v>4.2690000000000001</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Vache Qui Rit</c:v>
                </c:pt>
                <c:pt idx="1">
                  <c:v>Mini Babybel</c:v>
                </c:pt>
                <c:pt idx="2">
                  <c:v>Kiri</c:v>
                </c:pt>
                <c:pt idx="3">
                  <c:v>Private Label</c:v>
                </c:pt>
                <c:pt idx="4">
                  <c:v>Ficello</c:v>
                </c:pt>
              </c:strCache>
            </c:strRef>
          </c:cat>
          <c:val>
            <c:numRef>
              <c:f>Sheet1!$T$2:$T$6</c:f>
              <c:numCache>
                <c:formatCode>General</c:formatCode>
                <c:ptCount val="5"/>
                <c:pt idx="4">
                  <c:v>2.1547999999999998</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8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B$2:$B$7</c:f>
              <c:numCache>
                <c:formatCode>General</c:formatCode>
                <c:ptCount val="6"/>
                <c:pt idx="0">
                  <c:v>2.0430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2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C$2:$C$7</c:f>
              <c:numCache>
                <c:formatCode>General</c:formatCode>
                <c:ptCount val="6"/>
                <c:pt idx="1">
                  <c:v>2.5712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4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D$2:$D$7</c:f>
              <c:numCache>
                <c:formatCode>General</c:formatCode>
                <c:ptCount val="6"/>
                <c:pt idx="3">
                  <c:v>1.175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4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E$2:$E$7</c:f>
              <c:numCache>
                <c:formatCode>General</c:formatCode>
                <c:ptCount val="6"/>
                <c:pt idx="2">
                  <c:v>2.303199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6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F$2:$F$7</c:f>
              <c:numCache>
                <c:formatCode>General</c:formatCode>
                <c:ptCount val="6"/>
                <c:pt idx="5">
                  <c:v>2.926600000000000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68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G$2:$G$7</c:f>
              <c:numCache>
                <c:formatCode>General</c:formatCode>
                <c:ptCount val="6"/>
                <c:pt idx="4">
                  <c:v>3.48249999999999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75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H$2:$H$7</c:f>
              <c:numCache>
                <c:formatCode>General</c:formatCode>
                <c:ptCount val="6"/>
                <c:pt idx="0">
                  <c:v>2.2818000000000001</c:v>
                </c:pt>
                <c:pt idx="2">
                  <c:v>2.296600000000000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92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I$2:$I$7</c:f>
              <c:numCache>
                <c:formatCode>General</c:formatCode>
                <c:ptCount val="6"/>
                <c:pt idx="0">
                  <c:v>2.764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16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J$2:$J$7</c:f>
              <c:numCache>
                <c:formatCode>General</c:formatCode>
                <c:ptCount val="6"/>
                <c:pt idx="2">
                  <c:v>2.9809000000000001</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K$2:$K$7</c:f>
              <c:numCache>
                <c:formatCode>General</c:formatCode>
                <c:ptCount val="6"/>
                <c:pt idx="3">
                  <c:v>2.118300000000000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64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L$2:$L$7</c:f>
              <c:numCache>
                <c:formatCode>General</c:formatCode>
                <c:ptCount val="6"/>
                <c:pt idx="1">
                  <c:v>3.8222</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8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M$2:$M$7</c:f>
              <c:numCache>
                <c:formatCode>General</c:formatCode>
                <c:ptCount val="6"/>
                <c:pt idx="2">
                  <c:v>3.5971000000000002</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352GR</c:v>
                </c:pt>
              </c:strCache>
            </c:strRef>
          </c:tx>
          <c:spPr>
            <a:ln w="19050">
              <a:noFill/>
            </a:ln>
          </c:spPr>
          <c:marker>
            <c:symbol val="dash"/>
            <c:size val="20"/>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N$2:$N$7</c:f>
              <c:numCache>
                <c:formatCode>General</c:formatCode>
                <c:ptCount val="6"/>
                <c:pt idx="1">
                  <c:v>5.8715000000000002</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O$2:$O$7</c:f>
              <c:numCache>
                <c:formatCode>General</c:formatCode>
                <c:ptCount val="6"/>
                <c:pt idx="0">
                  <c:v>3.7242000000000002</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P$2:$P$7</c:f>
              <c:numCache>
                <c:formatCode>General</c:formatCode>
                <c:ptCount val="6"/>
                <c:pt idx="3">
                  <c:v>2.7378999999999998</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Q$2:$Q$7</c:f>
              <c:numCache>
                <c:formatCode>General</c:formatCode>
                <c:ptCount val="6"/>
                <c:pt idx="2">
                  <c:v>4.2270000000000003</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4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R$2:$R$7</c:f>
              <c:numCache>
                <c:formatCode>General</c:formatCode>
                <c:ptCount val="6"/>
                <c:pt idx="1">
                  <c:v>6.2496999999999998</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4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S$2:$S$7</c:f>
              <c:numCache>
                <c:formatCode>General</c:formatCode>
                <c:ptCount val="6"/>
                <c:pt idx="1">
                  <c:v>7.0495999999999999</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T$2:$T$7</c:f>
              <c:numCache>
                <c:formatCode>General</c:formatCode>
                <c:ptCount val="6"/>
                <c:pt idx="0">
                  <c:v>3.9066000000000001</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533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U$2:$U$7</c:f>
              <c:numCache>
                <c:formatCode>General</c:formatCode>
                <c:ptCount val="6"/>
                <c:pt idx="3">
                  <c:v>3.5234999999999999</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V$2:$V$7</c:f>
              <c:numCache>
                <c:formatCode>General</c:formatCode>
                <c:ptCount val="6"/>
                <c:pt idx="4">
                  <c:v>2.3713000000000002</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32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B$2:$B$7</c:f>
              <c:numCache>
                <c:formatCode>General</c:formatCode>
                <c:ptCount val="6"/>
                <c:pt idx="1">
                  <c:v>2.42240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44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C$2:$C$7</c:f>
              <c:numCache>
                <c:formatCode>General</c:formatCode>
                <c:ptCount val="6"/>
                <c:pt idx="2">
                  <c:v>2.3338999999999999</c:v>
                </c:pt>
                <c:pt idx="3">
                  <c:v>1.8676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68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D$2:$D$7</c:f>
              <c:numCache>
                <c:formatCode>General</c:formatCode>
                <c:ptCount val="6"/>
                <c:pt idx="4">
                  <c:v>3.543499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75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E$2:$E$7</c:f>
              <c:numCache>
                <c:formatCode>General</c:formatCode>
                <c:ptCount val="6"/>
                <c:pt idx="0">
                  <c:v>2.4007000000000001</c:v>
                </c:pt>
                <c:pt idx="2">
                  <c:v>2.368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F$2:$F$7</c:f>
              <c:numCache>
                <c:formatCode>General</c:formatCode>
                <c:ptCount val="6"/>
                <c:pt idx="1">
                  <c:v>3.87340000000000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92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G$2:$G$7</c:f>
              <c:numCache>
                <c:formatCode>General</c:formatCode>
                <c:ptCount val="6"/>
                <c:pt idx="0">
                  <c:v>2.489799999999999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H$2:$H$7</c:f>
              <c:numCache>
                <c:formatCode>General</c:formatCode>
                <c:ptCount val="6"/>
                <c:pt idx="3">
                  <c:v>1.659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16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I$2:$I$7</c:f>
              <c:numCache>
                <c:formatCode>General</c:formatCode>
                <c:ptCount val="6"/>
                <c:pt idx="2">
                  <c:v>2.95</c:v>
                </c:pt>
                <c:pt idx="3">
                  <c:v>1.879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4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J$2:$J$7</c:f>
              <c:numCache>
                <c:formatCode>General</c:formatCode>
                <c:ptCount val="6"/>
                <c:pt idx="5">
                  <c:v>3.620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64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K$2:$K$7</c:f>
              <c:numCache>
                <c:formatCode>General</c:formatCode>
                <c:ptCount val="6"/>
                <c:pt idx="1">
                  <c:v>4.410499999999999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67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L$2:$L$7</c:f>
              <c:numCache>
                <c:formatCode>General</c:formatCode>
                <c:ptCount val="6"/>
                <c:pt idx="0">
                  <c:v>3.1168</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8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M$2:$M$7</c:f>
              <c:numCache>
                <c:formatCode>General</c:formatCode>
                <c:ptCount val="6"/>
                <c:pt idx="0">
                  <c:v>3.9312999999999998</c:v>
                </c:pt>
                <c:pt idx="2">
                  <c:v>3.6393</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384GR</c:v>
                </c:pt>
              </c:strCache>
            </c:strRef>
          </c:tx>
          <c:spPr>
            <a:ln w="19050">
              <a:noFill/>
            </a:ln>
          </c:spPr>
          <c:marker>
            <c:symbol val="dash"/>
            <c:size val="20"/>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N$2:$N$7</c:f>
              <c:numCache>
                <c:formatCode>General</c:formatCode>
                <c:ptCount val="6"/>
                <c:pt idx="0">
                  <c:v>3.9493</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O$2:$O$7</c:f>
              <c:numCache>
                <c:formatCode>General</c:formatCode>
                <c:ptCount val="6"/>
                <c:pt idx="3">
                  <c:v>2.6932</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P$2:$P$7</c:f>
              <c:numCache>
                <c:formatCode>General</c:formatCode>
                <c:ptCount val="6"/>
                <c:pt idx="2">
                  <c:v>5.0930999999999997</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4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Q$2:$Q$7</c:f>
              <c:numCache>
                <c:formatCode>General</c:formatCode>
                <c:ptCount val="6"/>
                <c:pt idx="1">
                  <c:v>6.2904999999999998</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R$2:$R$7</c:f>
              <c:numCache>
                <c:formatCode>General</c:formatCode>
                <c:ptCount val="6"/>
                <c:pt idx="0">
                  <c:v>4.6340000000000003</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S$2:$S$7</c:f>
              <c:numCache>
                <c:formatCode>General</c:formatCode>
                <c:ptCount val="6"/>
                <c:pt idx="4">
                  <c:v>2.2023000000000001</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B$2:$B$9</c:f>
              <c:numCache>
                <c:formatCode>General</c:formatCode>
                <c:ptCount val="8"/>
                <c:pt idx="7">
                  <c:v>1.7085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C$2:$C$9</c:f>
              <c:numCache>
                <c:formatCode>General</c:formatCode>
                <c:ptCount val="8"/>
                <c:pt idx="0">
                  <c:v>2.3321999999999998</c:v>
                </c:pt>
                <c:pt idx="1">
                  <c:v>1.2223999999999999</c:v>
                </c:pt>
                <c:pt idx="2">
                  <c:v>1.8638999999999999</c:v>
                </c:pt>
                <c:pt idx="3">
                  <c:v>1.9804999999999999</c:v>
                </c:pt>
                <c:pt idx="4">
                  <c:v>2.1526000000000001</c:v>
                </c:pt>
                <c:pt idx="6">
                  <c:v>2.0384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6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D$2:$D$9</c:f>
              <c:numCache>
                <c:formatCode>General</c:formatCode>
                <c:ptCount val="8"/>
                <c:pt idx="3">
                  <c:v>2.0179999999999998</c:v>
                </c:pt>
                <c:pt idx="4">
                  <c:v>2.435999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E$2:$E$9</c:f>
              <c:numCache>
                <c:formatCode>General</c:formatCode>
                <c:ptCount val="8"/>
                <c:pt idx="0">
                  <c:v>2.3018000000000001</c:v>
                </c:pt>
                <c:pt idx="2">
                  <c:v>2.20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F$2:$F$9</c:f>
              <c:numCache>
                <c:formatCode>General</c:formatCode>
                <c:ptCount val="8"/>
                <c:pt idx="5">
                  <c:v>2.44019999999999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G$2:$G$9</c:f>
              <c:numCache>
                <c:formatCode>General</c:formatCode>
                <c:ptCount val="8"/>
                <c:pt idx="1">
                  <c:v>2.1562999999999999</c:v>
                </c:pt>
                <c:pt idx="3">
                  <c:v>2.7464</c:v>
                </c:pt>
                <c:pt idx="4">
                  <c:v>3.2924000000000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75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H$2:$H$9</c:f>
              <c:numCache>
                <c:formatCode>General</c:formatCode>
                <c:ptCount val="8"/>
                <c:pt idx="2">
                  <c:v>3.057599999999999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I$2:$I$9</c:f>
              <c:numCache>
                <c:formatCode>General</c:formatCode>
                <c:ptCount val="8"/>
                <c:pt idx="0">
                  <c:v>3.5305</c:v>
                </c:pt>
                <c:pt idx="1">
                  <c:v>1.8754</c:v>
                </c:pt>
                <c:pt idx="6">
                  <c:v>3.260400000000000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2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J$2:$J$9</c:f>
              <c:numCache>
                <c:formatCode>General</c:formatCode>
                <c:ptCount val="8"/>
                <c:pt idx="2">
                  <c:v>3.359100000000000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K$2:$K$9</c:f>
              <c:numCache>
                <c:formatCode>General</c:formatCode>
                <c:ptCount val="8"/>
                <c:pt idx="0">
                  <c:v>4.577499999999999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46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L$2:$L$9</c:f>
              <c:numCache>
                <c:formatCode>General</c:formatCode>
                <c:ptCount val="8"/>
                <c:pt idx="2">
                  <c:v>4.5730000000000004</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50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M$2:$M$9</c:f>
              <c:numCache>
                <c:formatCode>General</c:formatCode>
                <c:ptCount val="8"/>
                <c:pt idx="0">
                  <c:v>5.23</c:v>
                </c:pt>
              </c:numCache>
            </c:numRef>
          </c:val>
          <c:smooth val="0"/>
          <c:extLst>
            <c:ext xmlns:c16="http://schemas.microsoft.com/office/drawing/2014/chart" uri="{C3380CC4-5D6E-409C-BE32-E72D297353CC}">
              <c16:uniqueId val="{0000001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t Moret</c:v>
                </c:pt>
                <c:pt idx="1">
                  <c:v>Private Label</c:v>
                </c:pt>
                <c:pt idx="2">
                  <c:v>Paysan Breton</c:v>
                </c:pt>
                <c:pt idx="3">
                  <c:v>Tartare</c:v>
                </c:pt>
                <c:pt idx="4">
                  <c:v>Boursin</c:v>
                </c:pt>
                <c:pt idx="5">
                  <c:v>Carre Frais</c:v>
                </c:pt>
                <c:pt idx="6">
                  <c:v>Philadelphia</c:v>
                </c:pt>
              </c:strCache>
            </c:strRef>
          </c:cat>
          <c:val>
            <c:numRef>
              <c:f>Sheet1!$B$2:$B$8</c:f>
              <c:numCache>
                <c:formatCode>General</c:formatCode>
                <c:ptCount val="7"/>
                <c:pt idx="0">
                  <c:v>2.5021</c:v>
                </c:pt>
                <c:pt idx="1">
                  <c:v>1.4434</c:v>
                </c:pt>
                <c:pt idx="2">
                  <c:v>1.974</c:v>
                </c:pt>
                <c:pt idx="3">
                  <c:v>2.1177000000000001</c:v>
                </c:pt>
                <c:pt idx="4">
                  <c:v>2.2631000000000001</c:v>
                </c:pt>
                <c:pt idx="6">
                  <c:v>2.18480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6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Paysan Breton</c:v>
                </c:pt>
                <c:pt idx="3">
                  <c:v>Tartare</c:v>
                </c:pt>
                <c:pt idx="4">
                  <c:v>Boursin</c:v>
                </c:pt>
                <c:pt idx="5">
                  <c:v>Carre Frais</c:v>
                </c:pt>
                <c:pt idx="6">
                  <c:v>Philadelphia</c:v>
                </c:pt>
              </c:strCache>
            </c:strRef>
          </c:cat>
          <c:val>
            <c:numRef>
              <c:f>Sheet1!$C$2:$C$8</c:f>
              <c:numCache>
                <c:formatCode>General</c:formatCode>
                <c:ptCount val="7"/>
                <c:pt idx="3">
                  <c:v>2.0998000000000001</c:v>
                </c:pt>
                <c:pt idx="4">
                  <c:v>2.573900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Paysan Breton</c:v>
                </c:pt>
                <c:pt idx="3">
                  <c:v>Tartare</c:v>
                </c:pt>
                <c:pt idx="4">
                  <c:v>Boursin</c:v>
                </c:pt>
                <c:pt idx="5">
                  <c:v>Carre Frais</c:v>
                </c:pt>
                <c:pt idx="6">
                  <c:v>Philadelphia</c:v>
                </c:pt>
              </c:strCache>
            </c:strRef>
          </c:cat>
          <c:val>
            <c:numRef>
              <c:f>Sheet1!$D$2:$D$8</c:f>
              <c:numCache>
                <c:formatCode>General</c:formatCode>
                <c:ptCount val="7"/>
                <c:pt idx="0">
                  <c:v>2.4893000000000001</c:v>
                </c:pt>
                <c:pt idx="2">
                  <c:v>2.285499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Paysan Breton</c:v>
                </c:pt>
                <c:pt idx="3">
                  <c:v>Tartare</c:v>
                </c:pt>
                <c:pt idx="4">
                  <c:v>Boursin</c:v>
                </c:pt>
                <c:pt idx="5">
                  <c:v>Carre Frais</c:v>
                </c:pt>
                <c:pt idx="6">
                  <c:v>Philadelphia</c:v>
                </c:pt>
              </c:strCache>
            </c:strRef>
          </c:cat>
          <c:val>
            <c:numRef>
              <c:f>Sheet1!$E$2:$E$8</c:f>
              <c:numCache>
                <c:formatCode>General</c:formatCode>
                <c:ptCount val="7"/>
                <c:pt idx="5">
                  <c:v>2.45529999999999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25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Paysan Breton</c:v>
                </c:pt>
                <c:pt idx="3">
                  <c:v>Tartare</c:v>
                </c:pt>
                <c:pt idx="4">
                  <c:v>Boursin</c:v>
                </c:pt>
                <c:pt idx="5">
                  <c:v>Carre Frais</c:v>
                </c:pt>
                <c:pt idx="6">
                  <c:v>Philadelphia</c:v>
                </c:pt>
              </c:strCache>
            </c:strRef>
          </c:cat>
          <c:val>
            <c:numRef>
              <c:f>Sheet1!$F$2:$F$8</c:f>
              <c:numCache>
                <c:formatCode>General</c:formatCode>
                <c:ptCount val="7"/>
                <c:pt idx="0">
                  <c:v>3.23669999999999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t Moret</c:v>
                </c:pt>
                <c:pt idx="1">
                  <c:v>Private Label</c:v>
                </c:pt>
                <c:pt idx="2">
                  <c:v>Paysan Breton</c:v>
                </c:pt>
                <c:pt idx="3">
                  <c:v>Tartare</c:v>
                </c:pt>
                <c:pt idx="4">
                  <c:v>Boursin</c:v>
                </c:pt>
                <c:pt idx="5">
                  <c:v>Carre Frais</c:v>
                </c:pt>
                <c:pt idx="6">
                  <c:v>Philadelphia</c:v>
                </c:pt>
              </c:strCache>
            </c:strRef>
          </c:cat>
          <c:val>
            <c:numRef>
              <c:f>Sheet1!$G$2:$G$8</c:f>
              <c:numCache>
                <c:formatCode>General</c:formatCode>
                <c:ptCount val="7"/>
                <c:pt idx="1">
                  <c:v>2.1473</c:v>
                </c:pt>
                <c:pt idx="3">
                  <c:v>2.9064000000000001</c:v>
                </c:pt>
                <c:pt idx="4">
                  <c:v>3.4199000000000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t Moret</c:v>
                </c:pt>
                <c:pt idx="1">
                  <c:v>Private Label</c:v>
                </c:pt>
                <c:pt idx="2">
                  <c:v>Paysan Breton</c:v>
                </c:pt>
                <c:pt idx="3">
                  <c:v>Tartare</c:v>
                </c:pt>
                <c:pt idx="4">
                  <c:v>Boursin</c:v>
                </c:pt>
                <c:pt idx="5">
                  <c:v>Carre Frais</c:v>
                </c:pt>
                <c:pt idx="6">
                  <c:v>Philadelphia</c:v>
                </c:pt>
              </c:strCache>
            </c:strRef>
          </c:cat>
          <c:val>
            <c:numRef>
              <c:f>Sheet1!$H$2:$H$8</c:f>
              <c:numCache>
                <c:formatCode>General</c:formatCode>
                <c:ptCount val="7"/>
                <c:pt idx="0">
                  <c:v>3.6497000000000002</c:v>
                </c:pt>
                <c:pt idx="1">
                  <c:v>1.9736</c:v>
                </c:pt>
                <c:pt idx="6">
                  <c:v>3.398499999999999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2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Paysan Breton</c:v>
                </c:pt>
                <c:pt idx="3">
                  <c:v>Tartare</c:v>
                </c:pt>
                <c:pt idx="4">
                  <c:v>Boursin</c:v>
                </c:pt>
                <c:pt idx="5">
                  <c:v>Carre Frais</c:v>
                </c:pt>
                <c:pt idx="6">
                  <c:v>Philadelphia</c:v>
                </c:pt>
              </c:strCache>
            </c:strRef>
          </c:cat>
          <c:val>
            <c:numRef>
              <c:f>Sheet1!$I$2:$I$8</c:f>
              <c:numCache>
                <c:formatCode>General</c:formatCode>
                <c:ptCount val="7"/>
                <c:pt idx="2">
                  <c:v>3.346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t Moret</c:v>
                </c:pt>
                <c:pt idx="1">
                  <c:v>Private Label</c:v>
                </c:pt>
                <c:pt idx="2">
                  <c:v>Paysan Breton</c:v>
                </c:pt>
                <c:pt idx="3">
                  <c:v>Tartare</c:v>
                </c:pt>
                <c:pt idx="4">
                  <c:v>Boursin</c:v>
                </c:pt>
                <c:pt idx="5">
                  <c:v>Carre Frais</c:v>
                </c:pt>
                <c:pt idx="6">
                  <c:v>Philadelphia</c:v>
                </c:pt>
              </c:strCache>
            </c:strRef>
          </c:cat>
          <c:val>
            <c:numRef>
              <c:f>Sheet1!$J$2:$J$8</c:f>
              <c:numCache>
                <c:formatCode>General</c:formatCode>
                <c:ptCount val="7"/>
                <c:pt idx="0">
                  <c:v>4.661400000000000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6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Paysan Breton</c:v>
                </c:pt>
                <c:pt idx="3">
                  <c:v>Tartare</c:v>
                </c:pt>
                <c:pt idx="4">
                  <c:v>Boursin</c:v>
                </c:pt>
                <c:pt idx="5">
                  <c:v>Carre Frais</c:v>
                </c:pt>
                <c:pt idx="6">
                  <c:v>Philadelphia</c:v>
                </c:pt>
              </c:strCache>
            </c:strRef>
          </c:cat>
          <c:val>
            <c:numRef>
              <c:f>Sheet1!$K$2:$K$8</c:f>
              <c:numCache>
                <c:formatCode>General</c:formatCode>
                <c:ptCount val="7"/>
                <c:pt idx="2">
                  <c:v>4.7285000000000004</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0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Paysan Breton</c:v>
                </c:pt>
                <c:pt idx="3">
                  <c:v>Tartare</c:v>
                </c:pt>
                <c:pt idx="4">
                  <c:v>Boursin</c:v>
                </c:pt>
                <c:pt idx="5">
                  <c:v>Carre Frais</c:v>
                </c:pt>
                <c:pt idx="6">
                  <c:v>Philadelphia</c:v>
                </c:pt>
              </c:strCache>
            </c:strRef>
          </c:cat>
          <c:val>
            <c:numRef>
              <c:f>Sheet1!$L$2:$L$8</c:f>
              <c:numCache>
                <c:formatCode>General</c:formatCode>
                <c:ptCount val="7"/>
                <c:pt idx="0">
                  <c:v>5.0990000000000002</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t Moret</c:v>
                </c:pt>
                <c:pt idx="1">
                  <c:v>Private Label</c:v>
                </c:pt>
                <c:pt idx="2">
                  <c:v>Boursin</c:v>
                </c:pt>
                <c:pt idx="3">
                  <c:v>Paysan Breton</c:v>
                </c:pt>
                <c:pt idx="4">
                  <c:v>Tartare</c:v>
                </c:pt>
                <c:pt idx="5">
                  <c:v>Carre Frais</c:v>
                </c:pt>
                <c:pt idx="6">
                  <c:v>Philadelphia</c:v>
                </c:pt>
              </c:strCache>
            </c:strRef>
          </c:cat>
          <c:val>
            <c:numRef>
              <c:f>Sheet1!$B$2:$B$8</c:f>
              <c:numCache>
                <c:formatCode>General</c:formatCode>
                <c:ptCount val="7"/>
                <c:pt idx="2">
                  <c:v>2.2608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Boursin</c:v>
                </c:pt>
                <c:pt idx="3">
                  <c:v>Paysan Breton</c:v>
                </c:pt>
                <c:pt idx="4">
                  <c:v>Tartare</c:v>
                </c:pt>
                <c:pt idx="5">
                  <c:v>Carre Frais</c:v>
                </c:pt>
                <c:pt idx="6">
                  <c:v>Philadelphia</c:v>
                </c:pt>
              </c:strCache>
            </c:strRef>
          </c:cat>
          <c:val>
            <c:numRef>
              <c:f>Sheet1!$C$2:$C$8</c:f>
              <c:numCache>
                <c:formatCode>General</c:formatCode>
                <c:ptCount val="7"/>
                <c:pt idx="0">
                  <c:v>2.2576999999999998</c:v>
                </c:pt>
                <c:pt idx="1">
                  <c:v>1.2655000000000001</c:v>
                </c:pt>
                <c:pt idx="2">
                  <c:v>2.2536</c:v>
                </c:pt>
                <c:pt idx="3">
                  <c:v>1.8654999999999999</c:v>
                </c:pt>
                <c:pt idx="4">
                  <c:v>2.0594999999999999</c:v>
                </c:pt>
                <c:pt idx="6">
                  <c:v>1.8594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6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Boursin</c:v>
                </c:pt>
                <c:pt idx="3">
                  <c:v>Paysan Breton</c:v>
                </c:pt>
                <c:pt idx="4">
                  <c:v>Tartare</c:v>
                </c:pt>
                <c:pt idx="5">
                  <c:v>Carre Frais</c:v>
                </c:pt>
                <c:pt idx="6">
                  <c:v>Philadelphia</c:v>
                </c:pt>
              </c:strCache>
            </c:strRef>
          </c:cat>
          <c:val>
            <c:numRef>
              <c:f>Sheet1!$D$2:$D$8</c:f>
              <c:numCache>
                <c:formatCode>General</c:formatCode>
                <c:ptCount val="7"/>
                <c:pt idx="2">
                  <c:v>2.4615</c:v>
                </c:pt>
                <c:pt idx="4">
                  <c:v>2.08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Boursin</c:v>
                </c:pt>
                <c:pt idx="3">
                  <c:v>Paysan Breton</c:v>
                </c:pt>
                <c:pt idx="4">
                  <c:v>Tartare</c:v>
                </c:pt>
                <c:pt idx="5">
                  <c:v>Carre Frais</c:v>
                </c:pt>
                <c:pt idx="6">
                  <c:v>Philadelphia</c:v>
                </c:pt>
              </c:strCache>
            </c:strRef>
          </c:cat>
          <c:val>
            <c:numRef>
              <c:f>Sheet1!$E$2:$E$8</c:f>
              <c:numCache>
                <c:formatCode>General</c:formatCode>
                <c:ptCount val="7"/>
                <c:pt idx="0">
                  <c:v>2.3105000000000002</c:v>
                </c:pt>
                <c:pt idx="3">
                  <c:v>2.169900000000000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Boursin</c:v>
                </c:pt>
                <c:pt idx="3">
                  <c:v>Paysan Breton</c:v>
                </c:pt>
                <c:pt idx="4">
                  <c:v>Tartare</c:v>
                </c:pt>
                <c:pt idx="5">
                  <c:v>Carre Frais</c:v>
                </c:pt>
                <c:pt idx="6">
                  <c:v>Philadelphia</c:v>
                </c:pt>
              </c:strCache>
            </c:strRef>
          </c:cat>
          <c:val>
            <c:numRef>
              <c:f>Sheet1!$F$2:$F$8</c:f>
              <c:numCache>
                <c:formatCode>General</c:formatCode>
                <c:ptCount val="7"/>
                <c:pt idx="5">
                  <c:v>2.496700000000000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t Moret</c:v>
                </c:pt>
                <c:pt idx="1">
                  <c:v>Private Label</c:v>
                </c:pt>
                <c:pt idx="2">
                  <c:v>Boursin</c:v>
                </c:pt>
                <c:pt idx="3">
                  <c:v>Paysan Breton</c:v>
                </c:pt>
                <c:pt idx="4">
                  <c:v>Tartare</c:v>
                </c:pt>
                <c:pt idx="5">
                  <c:v>Carre Frais</c:v>
                </c:pt>
                <c:pt idx="6">
                  <c:v>Philadelphia</c:v>
                </c:pt>
              </c:strCache>
            </c:strRef>
          </c:cat>
          <c:val>
            <c:numRef>
              <c:f>Sheet1!$G$2:$G$8</c:f>
              <c:numCache>
                <c:formatCode>General</c:formatCode>
                <c:ptCount val="7"/>
                <c:pt idx="1">
                  <c:v>2.1457999999999999</c:v>
                </c:pt>
                <c:pt idx="2">
                  <c:v>3.2565</c:v>
                </c:pt>
                <c:pt idx="4">
                  <c:v>2.832199999999999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75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t Moret</c:v>
                </c:pt>
                <c:pt idx="1">
                  <c:v>Private Label</c:v>
                </c:pt>
                <c:pt idx="2">
                  <c:v>Boursin</c:v>
                </c:pt>
                <c:pt idx="3">
                  <c:v>Paysan Breton</c:v>
                </c:pt>
                <c:pt idx="4">
                  <c:v>Tartare</c:v>
                </c:pt>
                <c:pt idx="5">
                  <c:v>Carre Frais</c:v>
                </c:pt>
                <c:pt idx="6">
                  <c:v>Philadelphia</c:v>
                </c:pt>
              </c:strCache>
            </c:strRef>
          </c:cat>
          <c:val>
            <c:numRef>
              <c:f>Sheet1!$H$2:$H$8</c:f>
              <c:numCache>
                <c:formatCode>General</c:formatCode>
                <c:ptCount val="7"/>
                <c:pt idx="3">
                  <c:v>3.072900000000000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Boursin</c:v>
                </c:pt>
                <c:pt idx="3">
                  <c:v>Paysan Breton</c:v>
                </c:pt>
                <c:pt idx="4">
                  <c:v>Tartare</c:v>
                </c:pt>
                <c:pt idx="5">
                  <c:v>Carre Frais</c:v>
                </c:pt>
                <c:pt idx="6">
                  <c:v>Philadelphia</c:v>
                </c:pt>
              </c:strCache>
            </c:strRef>
          </c:cat>
          <c:val>
            <c:numRef>
              <c:f>Sheet1!$I$2:$I$8</c:f>
              <c:numCache>
                <c:formatCode>General</c:formatCode>
                <c:ptCount val="7"/>
                <c:pt idx="0">
                  <c:v>3.6261999999999999</c:v>
                </c:pt>
                <c:pt idx="1">
                  <c:v>1.9140999999999999</c:v>
                </c:pt>
                <c:pt idx="6">
                  <c:v>3.199100000000000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2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t Moret</c:v>
                </c:pt>
                <c:pt idx="1">
                  <c:v>Private Label</c:v>
                </c:pt>
                <c:pt idx="2">
                  <c:v>Boursin</c:v>
                </c:pt>
                <c:pt idx="3">
                  <c:v>Paysan Breton</c:v>
                </c:pt>
                <c:pt idx="4">
                  <c:v>Tartare</c:v>
                </c:pt>
                <c:pt idx="5">
                  <c:v>Carre Frais</c:v>
                </c:pt>
                <c:pt idx="6">
                  <c:v>Philadelphia</c:v>
                </c:pt>
              </c:strCache>
            </c:strRef>
          </c:cat>
          <c:val>
            <c:numRef>
              <c:f>Sheet1!$J$2:$J$8</c:f>
              <c:numCache>
                <c:formatCode>General</c:formatCode>
                <c:ptCount val="7"/>
                <c:pt idx="3">
                  <c:v>3.3521000000000001</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Boursin</c:v>
                </c:pt>
                <c:pt idx="3">
                  <c:v>Paysan Breton</c:v>
                </c:pt>
                <c:pt idx="4">
                  <c:v>Tartare</c:v>
                </c:pt>
                <c:pt idx="5">
                  <c:v>Carre Frais</c:v>
                </c:pt>
                <c:pt idx="6">
                  <c:v>Philadelphia</c:v>
                </c:pt>
              </c:strCache>
            </c:strRef>
          </c:cat>
          <c:val>
            <c:numRef>
              <c:f>Sheet1!$K$2:$K$8</c:f>
              <c:numCache>
                <c:formatCode>General</c:formatCode>
                <c:ptCount val="7"/>
                <c:pt idx="0">
                  <c:v>4.5582000000000003</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96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Boursin</c:v>
                </c:pt>
                <c:pt idx="3">
                  <c:v>Paysan Breton</c:v>
                </c:pt>
                <c:pt idx="4">
                  <c:v>Tartare</c:v>
                </c:pt>
                <c:pt idx="5">
                  <c:v>Carre Frais</c:v>
                </c:pt>
                <c:pt idx="6">
                  <c:v>Philadelphia</c:v>
                </c:pt>
              </c:strCache>
            </c:strRef>
          </c:cat>
          <c:val>
            <c:numRef>
              <c:f>Sheet1!$L$2:$L$8</c:f>
              <c:numCache>
                <c:formatCode>General</c:formatCode>
                <c:ptCount val="7"/>
                <c:pt idx="2">
                  <c:v>1.748</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4F16A61-3A8F-4AC3-A41D-5FD78FFD9E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B9AE6A7-8140-42E3-B210-231DC127FE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6BA470F-EF66-4E04-862A-DC0EB70FF8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2F179E6-099E-4F95-8A19-5CE4FF92CB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A654226-8FF0-480B-B147-5FACC9AFAD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DD7822B-1B59-4D95-A264-70E283AE28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8AF7F65-AE60-4CD6-92A6-F7F454AFBA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8D057D0-9B6E-4041-ACA1-66A4D84F56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0387</c:v>
                </c:pt>
                <c:pt idx="1">
                  <c:v>2.2827999999999999</c:v>
                </c:pt>
                <c:pt idx="2">
                  <c:v>2.7042000000000002</c:v>
                </c:pt>
                <c:pt idx="3">
                  <c:v>2.9156</c:v>
                </c:pt>
                <c:pt idx="4">
                  <c:v>3.2122000000000002</c:v>
                </c:pt>
                <c:pt idx="5">
                  <c:v>2.4706999999999999</c:v>
                </c:pt>
                <c:pt idx="6">
                  <c:v>3.2845</c:v>
                </c:pt>
                <c:pt idx="7">
                  <c:v>3.4908000000000001</c:v>
                </c:pt>
                <c:pt idx="8">
                  <c:v>2.2103999999999999</c:v>
                </c:pt>
              </c:numCache>
            </c:numRef>
          </c:xVal>
          <c:yVal>
            <c:numRef>
              <c:f>Sheet1!$B$2:$B$10</c:f>
              <c:numCache>
                <c:formatCode>General</c:formatCode>
                <c:ptCount val="9"/>
                <c:pt idx="0">
                  <c:v>0.85499999999999998</c:v>
                </c:pt>
                <c:pt idx="1">
                  <c:v>0.82199999999999995</c:v>
                </c:pt>
                <c:pt idx="2">
                  <c:v>1.0820000000000001</c:v>
                </c:pt>
                <c:pt idx="3">
                  <c:v>1.1399999999999999</c:v>
                </c:pt>
                <c:pt idx="4">
                  <c:v>1.1879999999999999</c:v>
                </c:pt>
                <c:pt idx="5">
                  <c:v>0.73199999999999998</c:v>
                </c:pt>
                <c:pt idx="6">
                  <c:v>0.92500000000000004</c:v>
                </c:pt>
                <c:pt idx="7">
                  <c:v>1.488</c:v>
                </c:pt>
                <c:pt idx="8">
                  <c:v>1.1220000000000001</c:v>
                </c:pt>
              </c:numCache>
            </c:numRef>
          </c:yVal>
          <c:bubbleSize>
            <c:numRef>
              <c:f>Sheet1!$C$2:$C$10</c:f>
              <c:numCache>
                <c:formatCode>General</c:formatCode>
                <c:ptCount val="9"/>
                <c:pt idx="0">
                  <c:v>1760863092</c:v>
                </c:pt>
                <c:pt idx="1">
                  <c:v>230947562</c:v>
                </c:pt>
                <c:pt idx="2">
                  <c:v>200738299</c:v>
                </c:pt>
                <c:pt idx="3">
                  <c:v>188621011</c:v>
                </c:pt>
                <c:pt idx="4">
                  <c:v>187705593</c:v>
                </c:pt>
                <c:pt idx="5">
                  <c:v>146085508</c:v>
                </c:pt>
                <c:pt idx="6">
                  <c:v>143118988</c:v>
                </c:pt>
                <c:pt idx="7">
                  <c:v>133719924</c:v>
                </c:pt>
                <c:pt idx="8">
                  <c:v>128025208</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St Moret</c:v>
                  </c:pt>
                  <c:pt idx="4">
                    <c:v>Caprice Des Dieux</c:v>
                  </c:pt>
                  <c:pt idx="5">
                    <c:v>Coeur De Lion</c:v>
                  </c:pt>
                  <c:pt idx="6">
                    <c:v>La Vache Qui Rit</c:v>
                  </c:pt>
                  <c:pt idx="7">
                    <c:v>Mini Babybel</c:v>
                  </c:pt>
                  <c:pt idx="8">
                    <c:v>Galba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8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B$2:$B$8</c:f>
              <c:numCache>
                <c:formatCode>General</c:formatCode>
                <c:ptCount val="7"/>
                <c:pt idx="0">
                  <c:v>2.4628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C$2:$C$8</c:f>
              <c:numCache>
                <c:formatCode>General</c:formatCode>
                <c:ptCount val="7"/>
                <c:pt idx="0">
                  <c:v>2.1486999999999998</c:v>
                </c:pt>
                <c:pt idx="2">
                  <c:v>2.6366999999999998</c:v>
                </c:pt>
                <c:pt idx="6">
                  <c:v>2.245400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D$2:$D$8</c:f>
              <c:numCache>
                <c:formatCode>General</c:formatCode>
                <c:ptCount val="7"/>
                <c:pt idx="0">
                  <c:v>1.3109</c:v>
                </c:pt>
                <c:pt idx="1">
                  <c:v>1.5152000000000001</c:v>
                </c:pt>
                <c:pt idx="2">
                  <c:v>2.3485</c:v>
                </c:pt>
                <c:pt idx="3">
                  <c:v>1.64230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E$2:$E$8</c:f>
              <c:numCache>
                <c:formatCode>General</c:formatCode>
                <c:ptCount val="7"/>
                <c:pt idx="0">
                  <c:v>2.1614</c:v>
                </c:pt>
                <c:pt idx="1">
                  <c:v>2.9659</c:v>
                </c:pt>
                <c:pt idx="3">
                  <c:v>2.5783</c:v>
                </c:pt>
                <c:pt idx="5">
                  <c:v>2.796400000000000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F$2:$F$8</c:f>
              <c:numCache>
                <c:formatCode>General</c:formatCode>
                <c:ptCount val="7"/>
                <c:pt idx="0">
                  <c:v>2.9594999999999998</c:v>
                </c:pt>
                <c:pt idx="2">
                  <c:v>3.6528</c:v>
                </c:pt>
                <c:pt idx="3">
                  <c:v>4.4829999999999997</c:v>
                </c:pt>
                <c:pt idx="4">
                  <c:v>2.836199999999999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G$2:$G$8</c:f>
              <c:numCache>
                <c:formatCode>General</c:formatCode>
                <c:ptCount val="7"/>
                <c:pt idx="0">
                  <c:v>2.2301000000000002</c:v>
                </c:pt>
                <c:pt idx="1">
                  <c:v>2.5897000000000001</c:v>
                </c:pt>
                <c:pt idx="2">
                  <c:v>4.619500000000000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H$2:$H$8</c:f>
              <c:numCache>
                <c:formatCode>General</c:formatCode>
                <c:ptCount val="7"/>
                <c:pt idx="4">
                  <c:v>3.314900000000000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75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I$2:$I$8</c:f>
              <c:numCache>
                <c:formatCode>General</c:formatCode>
                <c:ptCount val="7"/>
                <c:pt idx="0">
                  <c:v>2.7160000000000002</c:v>
                </c:pt>
                <c:pt idx="1">
                  <c:v>3.586800000000000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J$2:$J$8</c:f>
              <c:numCache>
                <c:formatCode>General</c:formatCode>
                <c:ptCount val="7"/>
                <c:pt idx="0">
                  <c:v>2.9542999999999999</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B$2:$B$8</c:f>
              <c:numCache>
                <c:formatCode>General</c:formatCode>
                <c:ptCount val="7"/>
                <c:pt idx="0">
                  <c:v>1.9787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C$2:$C$8</c:f>
              <c:numCache>
                <c:formatCode>General</c:formatCode>
                <c:ptCount val="7"/>
                <c:pt idx="0">
                  <c:v>2.2079</c:v>
                </c:pt>
                <c:pt idx="1">
                  <c:v>2.5787</c:v>
                </c:pt>
                <c:pt idx="6">
                  <c:v>2.2364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D$2:$D$8</c:f>
              <c:numCache>
                <c:formatCode>General</c:formatCode>
                <c:ptCount val="7"/>
                <c:pt idx="0">
                  <c:v>1.3940999999999999</c:v>
                </c:pt>
                <c:pt idx="1">
                  <c:v>2.5105</c:v>
                </c:pt>
                <c:pt idx="2">
                  <c:v>1.5953999999999999</c:v>
                </c:pt>
                <c:pt idx="3">
                  <c:v>1.75730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E$2:$E$8</c:f>
              <c:numCache>
                <c:formatCode>General</c:formatCode>
                <c:ptCount val="7"/>
                <c:pt idx="0">
                  <c:v>2.2494999999999998</c:v>
                </c:pt>
                <c:pt idx="1">
                  <c:v>2.8174999999999999</c:v>
                </c:pt>
                <c:pt idx="2">
                  <c:v>2.6676000000000002</c:v>
                </c:pt>
                <c:pt idx="3">
                  <c:v>2.7401</c:v>
                </c:pt>
                <c:pt idx="5">
                  <c:v>2.765400000000000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F$2:$F$8</c:f>
              <c:numCache>
                <c:formatCode>General</c:formatCode>
                <c:ptCount val="7"/>
                <c:pt idx="0">
                  <c:v>3.0125000000000002</c:v>
                </c:pt>
                <c:pt idx="1">
                  <c:v>3.6293000000000002</c:v>
                </c:pt>
                <c:pt idx="3">
                  <c:v>4.1787999999999998</c:v>
                </c:pt>
                <c:pt idx="4">
                  <c:v>2.96669999999999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G$2:$G$8</c:f>
              <c:numCache>
                <c:formatCode>General</c:formatCode>
                <c:ptCount val="7"/>
                <c:pt idx="0">
                  <c:v>2.2553999999999998</c:v>
                </c:pt>
                <c:pt idx="1">
                  <c:v>4.6925999999999997</c:v>
                </c:pt>
                <c:pt idx="2">
                  <c:v>2.7865000000000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H$2:$H$8</c:f>
              <c:numCache>
                <c:formatCode>General</c:formatCode>
                <c:ptCount val="7"/>
                <c:pt idx="4">
                  <c:v>3.278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75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I$2:$I$8</c:f>
              <c:numCache>
                <c:formatCode>General</c:formatCode>
                <c:ptCount val="7"/>
                <c:pt idx="0">
                  <c:v>2.7353999999999998</c:v>
                </c:pt>
                <c:pt idx="2">
                  <c:v>3.755799999999999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J$2:$J$8</c:f>
              <c:numCache>
                <c:formatCode>General</c:formatCode>
                <c:ptCount val="7"/>
                <c:pt idx="0">
                  <c:v>3.0091000000000001</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Galbani</c:v>
                </c:pt>
                <c:pt idx="2">
                  <c:v>Salakis</c:v>
                </c:pt>
                <c:pt idx="3">
                  <c:v>Casa Azzurra</c:v>
                </c:pt>
                <c:pt idx="4">
                  <c:v>All Others</c:v>
                </c:pt>
                <c:pt idx="5">
                  <c:v>Islos</c:v>
                </c:pt>
                <c:pt idx="6">
                  <c:v>Boursin</c:v>
                </c:pt>
              </c:strCache>
            </c:strRef>
          </c:cat>
          <c:val>
            <c:numRef>
              <c:f>Sheet1!$B$2:$B$8</c:f>
              <c:numCache>
                <c:formatCode>General</c:formatCode>
                <c:ptCount val="7"/>
                <c:pt idx="0">
                  <c:v>1.7848999999999999</c:v>
                </c:pt>
                <c:pt idx="6">
                  <c:v>2.33740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Salakis</c:v>
                </c:pt>
                <c:pt idx="3">
                  <c:v>Casa Azzurra</c:v>
                </c:pt>
                <c:pt idx="4">
                  <c:v>All Others</c:v>
                </c:pt>
                <c:pt idx="5">
                  <c:v>Islos</c:v>
                </c:pt>
                <c:pt idx="6">
                  <c:v>Boursin</c:v>
                </c:pt>
              </c:strCache>
            </c:strRef>
          </c:cat>
          <c:val>
            <c:numRef>
              <c:f>Sheet1!$C$2:$C$8</c:f>
              <c:numCache>
                <c:formatCode>General</c:formatCode>
                <c:ptCount val="7"/>
                <c:pt idx="0">
                  <c:v>1.2884</c:v>
                </c:pt>
                <c:pt idx="1">
                  <c:v>1.5113000000000001</c:v>
                </c:pt>
                <c:pt idx="3">
                  <c:v>1.7226999999999999</c:v>
                </c:pt>
                <c:pt idx="4">
                  <c:v>2.8254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Salakis</c:v>
                </c:pt>
                <c:pt idx="3">
                  <c:v>Casa Azzurra</c:v>
                </c:pt>
                <c:pt idx="4">
                  <c:v>All Others</c:v>
                </c:pt>
                <c:pt idx="5">
                  <c:v>Islos</c:v>
                </c:pt>
                <c:pt idx="6">
                  <c:v>Boursin</c:v>
                </c:pt>
              </c:strCache>
            </c:strRef>
          </c:cat>
          <c:val>
            <c:numRef>
              <c:f>Sheet1!$D$2:$D$8</c:f>
              <c:numCache>
                <c:formatCode>General</c:formatCode>
                <c:ptCount val="7"/>
                <c:pt idx="0">
                  <c:v>2.2326999999999999</c:v>
                </c:pt>
                <c:pt idx="1">
                  <c:v>3.0937999999999999</c:v>
                </c:pt>
                <c:pt idx="2">
                  <c:v>2.8412000000000002</c:v>
                </c:pt>
                <c:pt idx="5">
                  <c:v>2.896199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Salakis</c:v>
                </c:pt>
                <c:pt idx="3">
                  <c:v>Casa Azzurra</c:v>
                </c:pt>
                <c:pt idx="4">
                  <c:v>All Others</c:v>
                </c:pt>
                <c:pt idx="5">
                  <c:v>Islos</c:v>
                </c:pt>
                <c:pt idx="6">
                  <c:v>Boursin</c:v>
                </c:pt>
              </c:strCache>
            </c:strRef>
          </c:cat>
          <c:val>
            <c:numRef>
              <c:f>Sheet1!$E$2:$E$8</c:f>
              <c:numCache>
                <c:formatCode>General</c:formatCode>
                <c:ptCount val="7"/>
                <c:pt idx="0">
                  <c:v>3.1911</c:v>
                </c:pt>
                <c:pt idx="2">
                  <c:v>2.74149999999999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5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Salakis</c:v>
                </c:pt>
                <c:pt idx="3">
                  <c:v>Casa Azzurra</c:v>
                </c:pt>
                <c:pt idx="4">
                  <c:v>All Others</c:v>
                </c:pt>
                <c:pt idx="5">
                  <c:v>Islos</c:v>
                </c:pt>
                <c:pt idx="6">
                  <c:v>Boursin</c:v>
                </c:pt>
              </c:strCache>
            </c:strRef>
          </c:cat>
          <c:val>
            <c:numRef>
              <c:f>Sheet1!$F$2:$F$8</c:f>
              <c:numCache>
                <c:formatCode>General</c:formatCode>
                <c:ptCount val="7"/>
                <c:pt idx="0">
                  <c:v>1.7465999999999999</c:v>
                </c:pt>
                <c:pt idx="1">
                  <c:v>2.5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Galbani</c:v>
                </c:pt>
                <c:pt idx="2">
                  <c:v>Salakis</c:v>
                </c:pt>
                <c:pt idx="3">
                  <c:v>Casa Azzurra</c:v>
                </c:pt>
                <c:pt idx="4">
                  <c:v>All Others</c:v>
                </c:pt>
                <c:pt idx="5">
                  <c:v>Islos</c:v>
                </c:pt>
                <c:pt idx="6">
                  <c:v>Boursin</c:v>
                </c:pt>
              </c:strCache>
            </c:strRef>
          </c:cat>
          <c:val>
            <c:numRef>
              <c:f>Sheet1!$G$2:$G$8</c:f>
              <c:numCache>
                <c:formatCode>General</c:formatCode>
                <c:ptCount val="7"/>
                <c:pt idx="0">
                  <c:v>2.1259000000000001</c:v>
                </c:pt>
                <c:pt idx="2">
                  <c:v>3.3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75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Galbani</c:v>
                </c:pt>
                <c:pt idx="2">
                  <c:v>Salakis</c:v>
                </c:pt>
                <c:pt idx="3">
                  <c:v>Casa Azzurra</c:v>
                </c:pt>
                <c:pt idx="4">
                  <c:v>All Others</c:v>
                </c:pt>
                <c:pt idx="5">
                  <c:v>Islos</c:v>
                </c:pt>
                <c:pt idx="6">
                  <c:v>Boursin</c:v>
                </c:pt>
              </c:strCache>
            </c:strRef>
          </c:cat>
          <c:val>
            <c:numRef>
              <c:f>Sheet1!$H$2:$H$8</c:f>
              <c:numCache>
                <c:formatCode>General</c:formatCode>
                <c:ptCount val="7"/>
                <c:pt idx="1">
                  <c:v>3.484599999999999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Salakis</c:v>
                </c:pt>
                <c:pt idx="3">
                  <c:v>Casa Azzurra</c:v>
                </c:pt>
                <c:pt idx="4">
                  <c:v>All Others</c:v>
                </c:pt>
                <c:pt idx="5">
                  <c:v>Islos</c:v>
                </c:pt>
                <c:pt idx="6">
                  <c:v>Boursin</c:v>
                </c:pt>
              </c:strCache>
            </c:strRef>
          </c:cat>
          <c:val>
            <c:numRef>
              <c:f>Sheet1!$I$2:$I$8</c:f>
              <c:numCache>
                <c:formatCode>General</c:formatCode>
                <c:ptCount val="7"/>
                <c:pt idx="0">
                  <c:v>2.9628999999999999</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9CDD573-2F57-49BC-9C24-719647CF34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12FD3B9-E7E6-4257-8ED7-8ADDFD5638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45AB77D-523F-4963-BA90-5F182C1548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D9C29E4-151B-450E-A594-72B0A87AC0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7C8A6EE-FCA0-458D-9E80-99D08CB28B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6C7B3CE-E725-4951-AEF7-4A97CB1624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0237039-1E47-4CA7-A36D-898140EDEB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C1D201F-4851-4424-A30F-1C80A53B0C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1959</c:v>
                </c:pt>
                <c:pt idx="1">
                  <c:v>2.3527999999999998</c:v>
                </c:pt>
                <c:pt idx="2">
                  <c:v>2.8315000000000001</c:v>
                </c:pt>
                <c:pt idx="3">
                  <c:v>3.2755999999999998</c:v>
                </c:pt>
                <c:pt idx="4">
                  <c:v>3.0144000000000002</c:v>
                </c:pt>
                <c:pt idx="5">
                  <c:v>3.2692000000000001</c:v>
                </c:pt>
                <c:pt idx="6">
                  <c:v>2.4649000000000001</c:v>
                </c:pt>
                <c:pt idx="7">
                  <c:v>2.9653</c:v>
                </c:pt>
                <c:pt idx="8">
                  <c:v>3.4565000000000001</c:v>
                </c:pt>
              </c:numCache>
            </c:numRef>
          </c:xVal>
          <c:yVal>
            <c:numRef>
              <c:f>Sheet1!$B$2:$B$10</c:f>
              <c:numCache>
                <c:formatCode>General</c:formatCode>
                <c:ptCount val="9"/>
                <c:pt idx="0">
                  <c:v>0.88500000000000001</c:v>
                </c:pt>
                <c:pt idx="1">
                  <c:v>0.77700000000000002</c:v>
                </c:pt>
                <c:pt idx="2">
                  <c:v>1.0529999999999999</c:v>
                </c:pt>
                <c:pt idx="3">
                  <c:v>1.1479999999999999</c:v>
                </c:pt>
                <c:pt idx="4">
                  <c:v>1.137</c:v>
                </c:pt>
                <c:pt idx="5">
                  <c:v>0.80200000000000005</c:v>
                </c:pt>
                <c:pt idx="6">
                  <c:v>0.69399999999999995</c:v>
                </c:pt>
                <c:pt idx="7">
                  <c:v>1.04</c:v>
                </c:pt>
                <c:pt idx="8">
                  <c:v>1.341</c:v>
                </c:pt>
              </c:numCache>
            </c:numRef>
          </c:yVal>
          <c:bubbleSize>
            <c:numRef>
              <c:f>Sheet1!$C$2:$C$10</c:f>
              <c:numCache>
                <c:formatCode>General</c:formatCode>
                <c:ptCount val="9"/>
                <c:pt idx="0">
                  <c:v>263392264</c:v>
                </c:pt>
                <c:pt idx="1">
                  <c:v>39509333</c:v>
                </c:pt>
                <c:pt idx="2">
                  <c:v>34407631</c:v>
                </c:pt>
                <c:pt idx="3">
                  <c:v>32529804</c:v>
                </c:pt>
                <c:pt idx="4">
                  <c:v>30956719</c:v>
                </c:pt>
                <c:pt idx="5">
                  <c:v>30468388</c:v>
                </c:pt>
                <c:pt idx="6">
                  <c:v>25638814</c:v>
                </c:pt>
                <c:pt idx="7">
                  <c:v>22816387</c:v>
                </c:pt>
                <c:pt idx="8">
                  <c:v>22613796</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Caprice Des Dieux</c:v>
                  </c:pt>
                  <c:pt idx="4">
                    <c:v>St Moret</c:v>
                  </c:pt>
                  <c:pt idx="5">
                    <c:v>La Vache Qui Rit</c:v>
                  </c:pt>
                  <c:pt idx="6">
                    <c:v>Coeur De Lion</c:v>
                  </c:pt>
                  <c:pt idx="7">
                    <c:v>Kiri</c:v>
                  </c:pt>
                  <c:pt idx="8">
                    <c:v>Mini Baby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4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FCFA4F3-8657-42FF-9437-6D32BB20E2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F0B99D9-19D1-4A3D-BF3E-63ACC59E2C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1B5790A-40ED-46A5-8DCE-D6DD4E4EF6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667D321-35C7-4E57-A7E7-59D42AC3DD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0312514-2E16-4988-8950-5336D1041C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08A62E8-49EA-4065-8206-EEA5B30820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45C4149-D65C-42A9-8FFA-4F7FBC40D6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76B4CBD-5851-4081-B687-11802F5B72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0106999999999999</c:v>
                </c:pt>
                <c:pt idx="1">
                  <c:v>2.3565</c:v>
                </c:pt>
                <c:pt idx="2">
                  <c:v>2.7509000000000001</c:v>
                </c:pt>
                <c:pt idx="3">
                  <c:v>2.9500999999999999</c:v>
                </c:pt>
                <c:pt idx="4">
                  <c:v>3.3361999999999998</c:v>
                </c:pt>
                <c:pt idx="5">
                  <c:v>2.2946</c:v>
                </c:pt>
                <c:pt idx="6">
                  <c:v>3.3645999999999998</c:v>
                </c:pt>
                <c:pt idx="7">
                  <c:v>2.5411000000000001</c:v>
                </c:pt>
                <c:pt idx="8">
                  <c:v>3.5409000000000002</c:v>
                </c:pt>
              </c:numCache>
            </c:numRef>
          </c:xVal>
          <c:yVal>
            <c:numRef>
              <c:f>Sheet1!$B$2:$B$10</c:f>
              <c:numCache>
                <c:formatCode>General</c:formatCode>
                <c:ptCount val="9"/>
                <c:pt idx="0">
                  <c:v>0.83699999999999997</c:v>
                </c:pt>
                <c:pt idx="1">
                  <c:v>0.83899999999999997</c:v>
                </c:pt>
                <c:pt idx="2">
                  <c:v>1.0860000000000001</c:v>
                </c:pt>
                <c:pt idx="3">
                  <c:v>1.1259999999999999</c:v>
                </c:pt>
                <c:pt idx="4">
                  <c:v>1.2210000000000001</c:v>
                </c:pt>
                <c:pt idx="5">
                  <c:v>1.145</c:v>
                </c:pt>
                <c:pt idx="6">
                  <c:v>0.96499999999999997</c:v>
                </c:pt>
                <c:pt idx="7">
                  <c:v>0.76800000000000002</c:v>
                </c:pt>
                <c:pt idx="8">
                  <c:v>1.5249999999999999</c:v>
                </c:pt>
              </c:numCache>
            </c:numRef>
          </c:yVal>
          <c:bubbleSize>
            <c:numRef>
              <c:f>Sheet1!$C$2:$C$10</c:f>
              <c:numCache>
                <c:formatCode>General</c:formatCode>
                <c:ptCount val="9"/>
                <c:pt idx="0">
                  <c:v>189926117</c:v>
                </c:pt>
                <c:pt idx="1">
                  <c:v>39277810</c:v>
                </c:pt>
                <c:pt idx="2">
                  <c:v>33117229</c:v>
                </c:pt>
                <c:pt idx="3">
                  <c:v>30253337</c:v>
                </c:pt>
                <c:pt idx="4">
                  <c:v>29411346</c:v>
                </c:pt>
                <c:pt idx="5">
                  <c:v>23364293</c:v>
                </c:pt>
                <c:pt idx="6">
                  <c:v>22557022</c:v>
                </c:pt>
                <c:pt idx="7">
                  <c:v>22493816</c:v>
                </c:pt>
                <c:pt idx="8">
                  <c:v>19313906</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St Moret</c:v>
                  </c:pt>
                  <c:pt idx="4">
                    <c:v>Caprice Des Dieux</c:v>
                  </c:pt>
                  <c:pt idx="5">
                    <c:v>Galbani</c:v>
                  </c:pt>
                  <c:pt idx="6">
                    <c:v>La Vache Qui Rit</c:v>
                  </c:pt>
                  <c:pt idx="7">
                    <c:v>Coeur De Lion</c:v>
                  </c:pt>
                  <c:pt idx="8">
                    <c:v>Mini Baby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2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F39216A-993B-49EE-A0EE-67E4CE8A39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702C0E3-C21C-4DD5-B0EE-B38304D34A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94FCAC6-E333-4ACC-8638-0DFC5B12FF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F12570D-5711-4BA4-B892-840CAD69AE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F041E6C-2401-4C83-BF55-9D69A6C997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490C992-7355-46BA-A8BB-3B753C5549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0E0D574-102C-4D90-9900-BD553E75A4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3CDAFD4-9435-46BC-BDBB-FACD6DE6AD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6396999999999999</c:v>
                </c:pt>
                <c:pt idx="1">
                  <c:v>2.0247000000000002</c:v>
                </c:pt>
                <c:pt idx="2">
                  <c:v>3.3784000000000001</c:v>
                </c:pt>
                <c:pt idx="3">
                  <c:v>2.8138999999999998</c:v>
                </c:pt>
                <c:pt idx="4">
                  <c:v>2.6101999999999999</c:v>
                </c:pt>
                <c:pt idx="5">
                  <c:v>5.2855999999999996</c:v>
                </c:pt>
              </c:numCache>
            </c:numRef>
          </c:xVal>
          <c:yVal>
            <c:numRef>
              <c:f>Sheet1!$B$2:$B$7</c:f>
              <c:numCache>
                <c:formatCode>General</c:formatCode>
                <c:ptCount val="6"/>
                <c:pt idx="0">
                  <c:v>0.873</c:v>
                </c:pt>
                <c:pt idx="1">
                  <c:v>1.04</c:v>
                </c:pt>
                <c:pt idx="2">
                  <c:v>1.736</c:v>
                </c:pt>
                <c:pt idx="3">
                  <c:v>1.34</c:v>
                </c:pt>
                <c:pt idx="4">
                  <c:v>1.341</c:v>
                </c:pt>
                <c:pt idx="5">
                  <c:v>1.528</c:v>
                </c:pt>
              </c:numCache>
            </c:numRef>
          </c:yVal>
          <c:bubbleSize>
            <c:numRef>
              <c:f>Sheet1!$C$2:$C$7</c:f>
              <c:numCache>
                <c:formatCode>General</c:formatCode>
                <c:ptCount val="6"/>
                <c:pt idx="0">
                  <c:v>127145345</c:v>
                </c:pt>
                <c:pt idx="1">
                  <c:v>30565706</c:v>
                </c:pt>
                <c:pt idx="2">
                  <c:v>18356742</c:v>
                </c:pt>
                <c:pt idx="3">
                  <c:v>14160014</c:v>
                </c:pt>
                <c:pt idx="4">
                  <c:v>10194513</c:v>
                </c:pt>
                <c:pt idx="5">
                  <c:v>2156754</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Private Label</c:v>
                  </c:pt>
                  <c:pt idx="4">
                    <c:v>St Moret</c:v>
                  </c:pt>
                  <c:pt idx="5">
                    <c:v>O'Tapas Ape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35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3295B86-FB2E-41C9-89DD-241124FE3F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C809D8C-E792-4477-A7BB-754E58E6A8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433A803-BC8C-4200-96F6-A796B176E9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ABE45B9-4B21-427B-92D8-338C7CF543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E7B77A8-85AA-4F49-9DB3-89B552E5D3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317B436-B381-43E8-A757-89E49E17A6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2F7255B-CB2A-4105-86B2-237787DEED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D551394-4FAE-490E-9572-BE26FAF927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7854999999999999</c:v>
                </c:pt>
                <c:pt idx="1">
                  <c:v>2.1145</c:v>
                </c:pt>
                <c:pt idx="2">
                  <c:v>3.4693000000000001</c:v>
                </c:pt>
                <c:pt idx="3">
                  <c:v>3.0528</c:v>
                </c:pt>
                <c:pt idx="4">
                  <c:v>2.6516999999999999</c:v>
                </c:pt>
                <c:pt idx="5">
                  <c:v>5.1757</c:v>
                </c:pt>
              </c:numCache>
            </c:numRef>
          </c:xVal>
          <c:yVal>
            <c:numRef>
              <c:f>Sheet1!$B$2:$B$7</c:f>
              <c:numCache>
                <c:formatCode>General</c:formatCode>
                <c:ptCount val="6"/>
                <c:pt idx="0">
                  <c:v>0.876</c:v>
                </c:pt>
                <c:pt idx="1">
                  <c:v>1.0249999999999999</c:v>
                </c:pt>
                <c:pt idx="2">
                  <c:v>1.6819999999999999</c:v>
                </c:pt>
                <c:pt idx="3">
                  <c:v>1.4810000000000001</c:v>
                </c:pt>
                <c:pt idx="4">
                  <c:v>1.2889999999999999</c:v>
                </c:pt>
                <c:pt idx="5">
                  <c:v>1.597</c:v>
                </c:pt>
              </c:numCache>
            </c:numRef>
          </c:yVal>
          <c:bubbleSize>
            <c:numRef>
              <c:f>Sheet1!$C$2:$C$7</c:f>
              <c:numCache>
                <c:formatCode>General</c:formatCode>
                <c:ptCount val="6"/>
                <c:pt idx="0">
                  <c:v>23637907</c:v>
                </c:pt>
                <c:pt idx="1">
                  <c:v>5715349</c:v>
                </c:pt>
                <c:pt idx="2">
                  <c:v>3679581</c:v>
                </c:pt>
                <c:pt idx="3">
                  <c:v>2136150</c:v>
                </c:pt>
                <c:pt idx="4">
                  <c:v>1221414</c:v>
                </c:pt>
                <c:pt idx="5">
                  <c:v>535470</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Private Label</c:v>
                  </c:pt>
                  <c:pt idx="4">
                    <c:v>St Moret</c:v>
                  </c:pt>
                  <c:pt idx="5">
                    <c:v>O'Tapas Ape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8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702219B-170A-4A1B-8FD5-60D0230111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241C2F1-003A-40BF-AE77-284769F2B7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3C338F9-460B-4DC6-A38A-40E4F3FCC2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1BD81DD-9D43-4598-9D08-DCA0A0204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D2C7497-0888-412B-B3AA-1224B30737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3A62A9B-28A5-4F45-BE6B-1CB0723B27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8E18507-E249-4094-9BCB-F59E0F5FE6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7E9D3B6-8965-4712-AD00-34184F2C9D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7511000000000001</c:v>
                </c:pt>
                <c:pt idx="1">
                  <c:v>2.1533000000000002</c:v>
                </c:pt>
                <c:pt idx="2">
                  <c:v>3.3626999999999998</c:v>
                </c:pt>
                <c:pt idx="3">
                  <c:v>2.6185</c:v>
                </c:pt>
                <c:pt idx="4">
                  <c:v>2.5989</c:v>
                </c:pt>
                <c:pt idx="5">
                  <c:v>2.8252000000000002</c:v>
                </c:pt>
              </c:numCache>
            </c:numRef>
          </c:xVal>
          <c:yVal>
            <c:numRef>
              <c:f>Sheet1!$B$2:$B$7</c:f>
              <c:numCache>
                <c:formatCode>General</c:formatCode>
                <c:ptCount val="6"/>
                <c:pt idx="0">
                  <c:v>0.88700000000000001</c:v>
                </c:pt>
                <c:pt idx="1">
                  <c:v>1.1140000000000001</c:v>
                </c:pt>
                <c:pt idx="2">
                  <c:v>1.74</c:v>
                </c:pt>
                <c:pt idx="3">
                  <c:v>1.3560000000000001</c:v>
                </c:pt>
                <c:pt idx="4">
                  <c:v>1.0129999999999999</c:v>
                </c:pt>
                <c:pt idx="5">
                  <c:v>0.81599999999999995</c:v>
                </c:pt>
              </c:numCache>
            </c:numRef>
          </c:yVal>
          <c:bubbleSize>
            <c:numRef>
              <c:f>Sheet1!$C$2:$C$7</c:f>
              <c:numCache>
                <c:formatCode>General</c:formatCode>
                <c:ptCount val="6"/>
                <c:pt idx="0">
                  <c:v>23271110</c:v>
                </c:pt>
                <c:pt idx="1">
                  <c:v>4730575</c:v>
                </c:pt>
                <c:pt idx="2">
                  <c:v>4275865</c:v>
                </c:pt>
                <c:pt idx="3">
                  <c:v>2668533</c:v>
                </c:pt>
                <c:pt idx="4">
                  <c:v>2642649</c:v>
                </c:pt>
                <c:pt idx="5">
                  <c:v>473706</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St Moret</c:v>
                  </c:pt>
                  <c:pt idx="4">
                    <c:v>Private Label</c:v>
                  </c:pt>
                  <c:pt idx="5">
                    <c:v>Entremon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9/10/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10/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0.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3.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24.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25.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26.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27.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28.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29.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30.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31.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32.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33.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34.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35.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36.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37.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38.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39.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40.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41.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42.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Total Fromag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7505920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9941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24347"/>
            <a:ext cx="4869366" cy="80334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48289"/>
            <a:ext cx="4869366" cy="162728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384950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Ingredient A Chaud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7207147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3720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59315"/>
            <a:ext cx="4869366" cy="69356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879567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Ingredient A Chaud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379408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8077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02529"/>
            <a:ext cx="4869366" cy="67940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741611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Ingredient A Chaud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254009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6404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85935"/>
            <a:ext cx="4869366" cy="68484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338797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nfant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752219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02359"/>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20962"/>
            <a:ext cx="4869366" cy="84202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77257"/>
            <a:ext cx="4869366" cy="55659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48120"/>
            <a:ext cx="4869366" cy="112745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119596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nfant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569368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6751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85753"/>
            <a:ext cx="4869366" cy="82066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20330"/>
            <a:ext cx="4869366" cy="54247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76715"/>
            <a:ext cx="4869366" cy="109886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440280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nfant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678627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0188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21047"/>
            <a:ext cx="4869366" cy="87495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10833"/>
            <a:ext cx="4869366" cy="57836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04024"/>
            <a:ext cx="4869366" cy="117155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726520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Frais A Tartiner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4130650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6557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89948"/>
            <a:ext cx="4869366" cy="78184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91840"/>
            <a:ext cx="4869366" cy="158373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336219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Frais A Tartiner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896446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1574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38867"/>
            <a:ext cx="4869366" cy="73303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90702"/>
            <a:ext cx="4869366" cy="148487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820421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Frais A Tartiner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5316566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7429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99436"/>
            <a:ext cx="4869366" cy="81150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31752"/>
            <a:ext cx="4869366" cy="164382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696035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alad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341800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2101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43264"/>
            <a:ext cx="4869366" cy="69882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064503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Total Fromage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0381638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4972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72573"/>
            <a:ext cx="4869366" cy="72199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13078"/>
            <a:ext cx="4869366" cy="146249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266309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alade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1138470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7212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95612"/>
            <a:ext cx="4869366" cy="74721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732043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alade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029361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84537"/>
            <a:ext cx="4869366" cy="98587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87120"/>
            <a:ext cx="4869366" cy="6516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773767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0/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Total Fromag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5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oeur De L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O'Tapas Ape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Ingredient A Chaud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La Belle Etoi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Ragu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289252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0/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Total Fromage | Carrefour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6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O'Tapas Ape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Ingredient A Chaud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La Belle Etoi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Ragu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774398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0/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Total Fromage | Intermarch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4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Entremo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Ingredient A Chaud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Belle Etoi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agu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8395644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0/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Total Fromag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1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slo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Tart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arre F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Tit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8147773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0/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Total Fromage | Carrefour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1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slo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Tart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arre F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Tit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2216671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0/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Total Fromage | Intermarch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slo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Tart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arre F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Tit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7385757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NATION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6190454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Carrefour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686385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Total Fromage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4494152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5135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75850"/>
            <a:ext cx="4869366" cy="78646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17268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Intermarche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8415934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3016056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732449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035922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859417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773523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3771049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0612722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1839713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157406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oft Chees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114649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8789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10421"/>
            <a:ext cx="4869366" cy="70958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38204"/>
            <a:ext cx="4869366" cy="143737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343233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Enfan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1115558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Enfan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7451720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Enfan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3229873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Frais A Tartin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958933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Frais A Tartin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3575026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Frais A Tartin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4708076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a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8508176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Sa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0858755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Sa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462304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oft Cheese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365687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7962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03881"/>
            <a:ext cx="4869366" cy="7772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01089"/>
            <a:ext cx="4869366" cy="157448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776067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oft Cheese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3193223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3472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56862"/>
            <a:ext cx="4869366" cy="69436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69034"/>
            <a:ext cx="4869366" cy="140654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600161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peritif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332219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35943"/>
            <a:ext cx="4869366" cy="9359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87775"/>
            <a:ext cx="4869366" cy="61869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673315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peritif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184965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54466"/>
            <a:ext cx="4869366" cy="96282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33609"/>
            <a:ext cx="4869366" cy="63644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856526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peritif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288836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41798"/>
            <a:ext cx="4869366" cy="93403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91667"/>
            <a:ext cx="4869366" cy="61741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097140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TotalTime>
  <Words>4344</Words>
  <Application>Microsoft Office PowerPoint</Application>
  <PresentationFormat>On-screen Show (16:9)</PresentationFormat>
  <Paragraphs>1150</Paragraphs>
  <Slides>48</Slides>
  <Notes>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8</vt:i4>
      </vt:variant>
    </vt:vector>
  </HeadingPairs>
  <TitlesOfParts>
    <vt:vector size="58"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56</cp:revision>
  <dcterms:created xsi:type="dcterms:W3CDTF">2024-07-05T14:56:51Z</dcterms:created>
  <dcterms:modified xsi:type="dcterms:W3CDTF">2025-09-10T15:49: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